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sldIdLst>
    <p:sldId id="257" r:id="rId3"/>
    <p:sldId id="371" r:id="rId4"/>
    <p:sldId id="334" r:id="rId5"/>
    <p:sldId id="335" r:id="rId6"/>
    <p:sldId id="337" r:id="rId7"/>
    <p:sldId id="309" r:id="rId8"/>
    <p:sldId id="340" r:id="rId9"/>
    <p:sldId id="341" r:id="rId10"/>
    <p:sldId id="342" r:id="rId11"/>
    <p:sldId id="343" r:id="rId12"/>
    <p:sldId id="372" r:id="rId13"/>
    <p:sldId id="311" r:id="rId14"/>
    <p:sldId id="312" r:id="rId15"/>
    <p:sldId id="313" r:id="rId16"/>
    <p:sldId id="314" r:id="rId17"/>
    <p:sldId id="338" r:id="rId18"/>
    <p:sldId id="373" r:id="rId19"/>
    <p:sldId id="344" r:id="rId20"/>
    <p:sldId id="259" r:id="rId21"/>
  </p:sldIdLst>
  <p:sldSz cx="12192000" cy="6858000"/>
  <p:notesSz cx="6858000" cy="9144000"/>
  <p:custDataLst>
    <p:tags r:id="rId25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61225"/>
    <a:srgbClr val="5B9BD5"/>
    <a:srgbClr val="1A0E1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8026AAE-A59C-4E9F-9417-6E562D79C9FB}" styleName="{d704909a-036c-4478-bca5-37cd17157313}">
    <a:wholeTbl>
      <a:tcTxStyle>
        <a:fontRef idx="none">
          <a:prstClr val="black"/>
        </a:fontRef>
      </a:tcTxStyle>
      <a:tcStyle>
        <a:tcBdr/>
        <a:fill>
          <a:solidFill>
            <a:srgbClr val="FFFFFF"/>
          </a:solidFill>
        </a:fill>
      </a:tcStyle>
    </a:wholeTbl>
    <a:band1H>
      <a:tcTxStyle>
        <a:fontRef idx="none">
          <a:prstClr val="black"/>
        </a:fontRef>
      </a:tcTxStyle>
      <a:tcStyle>
        <a:tcBdr/>
        <a:fill>
          <a:solidFill>
            <a:srgbClr val="C5D7E9"/>
          </a:solidFill>
        </a:fill>
      </a:tcStyle>
    </a:band1H>
    <a:band2H>
      <a:tcTxStyle>
        <a:fontRef idx="none">
          <a:prstClr val="black"/>
        </a:fontRef>
      </a:tcTxStyle>
      <a:tcStyle>
        <a:tcBdr/>
        <a:fill>
          <a:solidFill>
            <a:srgbClr val="7DA7CE"/>
          </a:solidFill>
        </a:fill>
      </a:tcStyle>
    </a:band2H>
    <a:firstRow>
      <a:tcTxStyle>
        <a:fontRef idx="none">
          <a:prstClr val="black"/>
        </a:fontRef>
      </a:tcTxStyle>
      <a:tcStyle>
        <a:tcBdr>
          <a:insideV>
            <a:ln w="6350" cmpd="sng">
              <a:solidFill>
                <a:srgbClr val="FFFFFF"/>
              </a:solidFill>
            </a:ln>
          </a:insideV>
        </a:tcBdr>
        <a:fill>
          <a:solidFill>
            <a:srgbClr val="396698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66" autoAdjust="0"/>
    <p:restoredTop sz="94660"/>
  </p:normalViewPr>
  <p:slideViewPr>
    <p:cSldViewPr snapToGrid="0">
      <p:cViewPr varScale="1">
        <p:scale>
          <a:sx n="73" d="100"/>
          <a:sy n="73" d="100"/>
        </p:scale>
        <p:origin x="306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5" Type="http://schemas.openxmlformats.org/officeDocument/2006/relationships/tags" Target="tags/tag51.xml"/><Relationship Id="rId24" Type="http://schemas.openxmlformats.org/officeDocument/2006/relationships/tableStyles" Target="tableStyles.xml"/><Relationship Id="rId23" Type="http://schemas.openxmlformats.org/officeDocument/2006/relationships/viewProps" Target="viewProps.xml"/><Relationship Id="rId22" Type="http://schemas.openxmlformats.org/officeDocument/2006/relationships/presProps" Target="presProps.xml"/><Relationship Id="rId21" Type="http://schemas.openxmlformats.org/officeDocument/2006/relationships/slide" Target="slides/slide19.xml"/><Relationship Id="rId20" Type="http://schemas.openxmlformats.org/officeDocument/2006/relationships/slide" Target="slides/slide18.xml"/><Relationship Id="rId2" Type="http://schemas.openxmlformats.org/officeDocument/2006/relationships/theme" Target="theme/theme1.xml"/><Relationship Id="rId19" Type="http://schemas.openxmlformats.org/officeDocument/2006/relationships/slide" Target="slides/slide17.xml"/><Relationship Id="rId18" Type="http://schemas.openxmlformats.org/officeDocument/2006/relationships/slide" Target="slides/slide16.xml"/><Relationship Id="rId17" Type="http://schemas.openxmlformats.org/officeDocument/2006/relationships/slide" Target="slides/slide15.xml"/><Relationship Id="rId16" Type="http://schemas.openxmlformats.org/officeDocument/2006/relationships/slide" Target="slides/slide14.xml"/><Relationship Id="rId15" Type="http://schemas.openxmlformats.org/officeDocument/2006/relationships/slide" Target="slides/slide13.xml"/><Relationship Id="rId14" Type="http://schemas.openxmlformats.org/officeDocument/2006/relationships/slide" Target="slides/slide12.xml"/><Relationship Id="rId13" Type="http://schemas.openxmlformats.org/officeDocument/2006/relationships/slide" Target="slides/slide11.xml"/><Relationship Id="rId12" Type="http://schemas.openxmlformats.org/officeDocument/2006/relationships/slide" Target="slides/slide10.xml"/><Relationship Id="rId11" Type="http://schemas.openxmlformats.org/officeDocument/2006/relationships/slide" Target="slides/slide9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showMasterSp="0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矩形 28"/>
          <p:cNvSpPr>
            <a:spLocks noChangeAspect="1"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 t="-9277" b="-9242"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dk1"/>
                </a:solidFill>
                <a:prstDash val="solid"/>
                <a:miter lim="800000"/>
                <a:headEnd/>
                <a:tailEnd/>
              </a14:hiddenLine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任意多边形: 形状 29"/>
          <p:cNvSpPr/>
          <p:nvPr userDrawn="1"/>
        </p:nvSpPr>
        <p:spPr>
          <a:xfrm>
            <a:off x="-3" y="0"/>
            <a:ext cx="12192003" cy="6858000"/>
          </a:xfrm>
          <a:custGeom>
            <a:avLst/>
            <a:gdLst>
              <a:gd name="connsiteX0" fmla="*/ 0 w 12192003"/>
              <a:gd name="connsiteY0" fmla="*/ 0 h 6858000"/>
              <a:gd name="connsiteX1" fmla="*/ 1 w 12192003"/>
              <a:gd name="connsiteY1" fmla="*/ 0 h 6858000"/>
              <a:gd name="connsiteX2" fmla="*/ 1 w 12192003"/>
              <a:gd name="connsiteY2" fmla="*/ 2459855 h 6858000"/>
              <a:gd name="connsiteX3" fmla="*/ 3234232 w 12192003"/>
              <a:gd name="connsiteY3" fmla="*/ 5686629 h 6858000"/>
              <a:gd name="connsiteX4" fmla="*/ 4038439 w 12192003"/>
              <a:gd name="connsiteY4" fmla="*/ 5686629 h 6858000"/>
              <a:gd name="connsiteX5" fmla="*/ 9738740 w 12192003"/>
              <a:gd name="connsiteY5" fmla="*/ 0 h 6858000"/>
              <a:gd name="connsiteX6" fmla="*/ 12192003 w 12192003"/>
              <a:gd name="connsiteY6" fmla="*/ 0 h 6858000"/>
              <a:gd name="connsiteX7" fmla="*/ 12192003 w 12192003"/>
              <a:gd name="connsiteY7" fmla="*/ 6858000 h 6858000"/>
              <a:gd name="connsiteX8" fmla="*/ 0 w 12192003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3" h="6858000">
                <a:moveTo>
                  <a:pt x="0" y="0"/>
                </a:moveTo>
                <a:lnTo>
                  <a:pt x="1" y="0"/>
                </a:lnTo>
                <a:lnTo>
                  <a:pt x="1" y="2459855"/>
                </a:lnTo>
                <a:lnTo>
                  <a:pt x="3234232" y="5686629"/>
                </a:lnTo>
                <a:cubicBezTo>
                  <a:pt x="3455483" y="5906636"/>
                  <a:pt x="3817189" y="5906636"/>
                  <a:pt x="4038439" y="5686629"/>
                </a:cubicBezTo>
                <a:lnTo>
                  <a:pt x="9738740" y="0"/>
                </a:lnTo>
                <a:lnTo>
                  <a:pt x="12192003" y="0"/>
                </a:lnTo>
                <a:lnTo>
                  <a:pt x="1219200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8013697" y="5252477"/>
            <a:ext cx="3505201" cy="595561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US" dirty="0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8013697" y="1739493"/>
            <a:ext cx="3505201" cy="3333845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099" y="5252477"/>
            <a:ext cx="7340597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099" y="5548748"/>
            <a:ext cx="7340597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14" name="任意多边形: 形状 13"/>
          <p:cNvSpPr/>
          <p:nvPr/>
        </p:nvSpPr>
        <p:spPr>
          <a:xfrm>
            <a:off x="0" y="-1"/>
            <a:ext cx="9901236" cy="5955991"/>
          </a:xfrm>
          <a:custGeom>
            <a:avLst/>
            <a:gdLst>
              <a:gd name="connsiteX0" fmla="*/ 8588368 w 9901236"/>
              <a:gd name="connsiteY0" fmla="*/ 0 h 5955991"/>
              <a:gd name="connsiteX1" fmla="*/ 9901236 w 9901236"/>
              <a:gd name="connsiteY1" fmla="*/ 0 h 5955991"/>
              <a:gd name="connsiteX2" fmla="*/ 4096325 w 9901236"/>
              <a:gd name="connsiteY2" fmla="*/ 5787539 h 5955991"/>
              <a:gd name="connsiteX3" fmla="*/ 3274852 w 9901236"/>
              <a:gd name="connsiteY3" fmla="*/ 5787539 h 5955991"/>
              <a:gd name="connsiteX4" fmla="*/ 0 w 9901236"/>
              <a:gd name="connsiteY4" fmla="*/ 2489351 h 5955991"/>
              <a:gd name="connsiteX5" fmla="*/ 0 w 9901236"/>
              <a:gd name="connsiteY5" fmla="*/ 1855013 h 5955991"/>
              <a:gd name="connsiteX6" fmla="*/ 3026672 w 9901236"/>
              <a:gd name="connsiteY6" fmla="*/ 4881685 h 5955991"/>
              <a:gd name="connsiteX7" fmla="*/ 3706683 w 9901236"/>
              <a:gd name="connsiteY7" fmla="*/ 4881685 h 5955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901236" h="5955991">
                <a:moveTo>
                  <a:pt x="8588368" y="0"/>
                </a:moveTo>
                <a:lnTo>
                  <a:pt x="9901236" y="0"/>
                </a:lnTo>
                <a:lnTo>
                  <a:pt x="4096325" y="5787539"/>
                </a:lnTo>
                <a:cubicBezTo>
                  <a:pt x="3870482" y="6012142"/>
                  <a:pt x="3500694" y="6012142"/>
                  <a:pt x="3274852" y="5787539"/>
                </a:cubicBezTo>
                <a:lnTo>
                  <a:pt x="0" y="2489351"/>
                </a:lnTo>
                <a:lnTo>
                  <a:pt x="0" y="1855013"/>
                </a:lnTo>
                <a:lnTo>
                  <a:pt x="3026672" y="4881685"/>
                </a:lnTo>
                <a:cubicBezTo>
                  <a:pt x="3214048" y="5069061"/>
                  <a:pt x="3519308" y="5069061"/>
                  <a:pt x="3706683" y="4881685"/>
                </a:cubicBez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 w="1240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showMasterSp="0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任意多边形: 形状 5"/>
          <p:cNvSpPr/>
          <p:nvPr userDrawn="1"/>
        </p:nvSpPr>
        <p:spPr>
          <a:xfrm flipH="1">
            <a:off x="4995085" y="0"/>
            <a:ext cx="7196914" cy="4324350"/>
          </a:xfrm>
          <a:custGeom>
            <a:avLst/>
            <a:gdLst>
              <a:gd name="connsiteX0" fmla="*/ 0 w 9738737"/>
              <a:gd name="connsiteY0" fmla="*/ 0 h 5851634"/>
              <a:gd name="connsiteX1" fmla="*/ 9738737 w 9738737"/>
              <a:gd name="connsiteY1" fmla="*/ 0 h 5851634"/>
              <a:gd name="connsiteX2" fmla="*/ 4038436 w 9738737"/>
              <a:gd name="connsiteY2" fmla="*/ 5686629 h 5851634"/>
              <a:gd name="connsiteX3" fmla="*/ 3234229 w 9738737"/>
              <a:gd name="connsiteY3" fmla="*/ 5686629 h 5851634"/>
              <a:gd name="connsiteX4" fmla="*/ 0 w 9738737"/>
              <a:gd name="connsiteY4" fmla="*/ 2459857 h 58516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738737" h="5851634">
                <a:moveTo>
                  <a:pt x="0" y="0"/>
                </a:moveTo>
                <a:lnTo>
                  <a:pt x="9738737" y="0"/>
                </a:lnTo>
                <a:lnTo>
                  <a:pt x="4038436" y="5686629"/>
                </a:lnTo>
                <a:cubicBezTo>
                  <a:pt x="3817186" y="5906636"/>
                  <a:pt x="3455480" y="5906636"/>
                  <a:pt x="3234229" y="5686629"/>
                </a:cubicBezTo>
                <a:lnTo>
                  <a:pt x="0" y="2459857"/>
                </a:lnTo>
                <a:close/>
              </a:path>
            </a:pathLst>
          </a:custGeom>
          <a:blipFill>
            <a:blip r:embed="rId2"/>
            <a:srcRect/>
            <a:stretch>
              <a:fillRect t="-5492" b="-546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3640407" y="2981325"/>
            <a:ext cx="4911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3641523" y="3876675"/>
            <a:ext cx="4911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  <a:endParaRPr 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任意多边形: 形状 15"/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1 w 12192000"/>
              <a:gd name="connsiteY0" fmla="*/ 0 h 6858000"/>
              <a:gd name="connsiteX1" fmla="*/ 2 w 12192000"/>
              <a:gd name="connsiteY1" fmla="*/ 0 h 6858000"/>
              <a:gd name="connsiteX2" fmla="*/ 2 w 12192000"/>
              <a:gd name="connsiteY2" fmla="*/ 2624742 h 6858000"/>
              <a:gd name="connsiteX3" fmla="*/ 3451028 w 12192000"/>
              <a:gd name="connsiteY3" fmla="*/ 6067811 h 6858000"/>
              <a:gd name="connsiteX4" fmla="*/ 4309142 w 12192000"/>
              <a:gd name="connsiteY4" fmla="*/ 6067811 h 6858000"/>
              <a:gd name="connsiteX5" fmla="*/ 10391538 w 12192000"/>
              <a:gd name="connsiteY5" fmla="*/ 0 h 6858000"/>
              <a:gd name="connsiteX6" fmla="*/ 12192000 w 12192000"/>
              <a:gd name="connsiteY6" fmla="*/ 0 h 6858000"/>
              <a:gd name="connsiteX7" fmla="*/ 12192000 w 12192000"/>
              <a:gd name="connsiteY7" fmla="*/ 6858000 h 6858000"/>
              <a:gd name="connsiteX8" fmla="*/ 0 w 12192000"/>
              <a:gd name="connsiteY8" fmla="*/ 6858000 h 6858000"/>
              <a:gd name="connsiteX9" fmla="*/ 0 w 12192000"/>
              <a:gd name="connsiteY9" fmla="*/ 6574971 h 6858000"/>
              <a:gd name="connsiteX10" fmla="*/ 1 w 12192000"/>
              <a:gd name="connsiteY10" fmla="*/ 657497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8000">
                <a:moveTo>
                  <a:pt x="1" y="0"/>
                </a:moveTo>
                <a:lnTo>
                  <a:pt x="2" y="0"/>
                </a:lnTo>
                <a:lnTo>
                  <a:pt x="2" y="2624742"/>
                </a:lnTo>
                <a:lnTo>
                  <a:pt x="3451028" y="6067811"/>
                </a:lnTo>
                <a:cubicBezTo>
                  <a:pt x="3687109" y="6302564"/>
                  <a:pt x="4073061" y="6302564"/>
                  <a:pt x="4309142" y="6067811"/>
                </a:cubicBezTo>
                <a:lnTo>
                  <a:pt x="10391538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574971"/>
                </a:lnTo>
                <a:lnTo>
                  <a:pt x="1" y="6574971"/>
                </a:lnTo>
                <a:close/>
              </a:path>
            </a:pathLst>
          </a:custGeom>
          <a:blipFill dpi="0" rotWithShape="1">
            <a:blip r:embed="rId2"/>
            <a:srcRect/>
            <a:stretch>
              <a:fillRect t="-9277" b="-9242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1130301"/>
            <a:ext cx="6409872" cy="233435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4071792"/>
            <a:ext cx="6409872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400" smtClean="0">
                <a:solidFill>
                  <a:schemeClr val="accent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  <a:endParaRPr lang="en-US" altLang="zh-CN" dirty="0"/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3775521"/>
            <a:ext cx="6409872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7254A4-AB70-4BA5-AFA8-771BEE22EA93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F407EC-1BAF-4BE3-8364-8CA7AFF7B91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A7254A4-AB70-4BA5-AFA8-771BEE22EA9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F407EC-1BAF-4BE3-8364-8CA7AFF7B91D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7" Type="http://schemas.openxmlformats.org/officeDocument/2006/relationships/slideLayout" Target="../slideLayouts/slideLayout2.xml"/><Relationship Id="rId6" Type="http://schemas.openxmlformats.org/officeDocument/2006/relationships/themeOverride" Target="../theme/themeOverride1.xml"/><Relationship Id="rId5" Type="http://schemas.openxmlformats.org/officeDocument/2006/relationships/image" Target="../media/image4.png"/><Relationship Id="rId4" Type="http://schemas.openxmlformats.org/officeDocument/2006/relationships/tags" Target="../tags/tag2.xml"/><Relationship Id="rId3" Type="http://schemas.openxmlformats.org/officeDocument/2006/relationships/image" Target="../media/image3.emf"/><Relationship Id="rId2" Type="http://schemas.openxmlformats.org/officeDocument/2006/relationships/oleObject" Target="../embeddings/oleObject1.bin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1.xml"/><Relationship Id="rId4" Type="http://schemas.openxmlformats.org/officeDocument/2006/relationships/tags" Target="../tags/tag18.xml"/><Relationship Id="rId3" Type="http://schemas.openxmlformats.org/officeDocument/2006/relationships/image" Target="../media/image14.png"/><Relationship Id="rId2" Type="http://schemas.openxmlformats.org/officeDocument/2006/relationships/image" Target="../media/image6.jpeg"/><Relationship Id="rId1" Type="http://schemas.openxmlformats.org/officeDocument/2006/relationships/tags" Target="../tags/tag1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15.jpeg"/></Relationships>
</file>

<file path=ppt/slides/_rels/slide12.xml.rels><?xml version="1.0" encoding="UTF-8" standalone="yes"?>
<Relationships xmlns="http://schemas.openxmlformats.org/package/2006/relationships"><Relationship Id="rId9" Type="http://schemas.openxmlformats.org/officeDocument/2006/relationships/tags" Target="../tags/tag27.xml"/><Relationship Id="rId8" Type="http://schemas.openxmlformats.org/officeDocument/2006/relationships/tags" Target="../tags/tag26.xml"/><Relationship Id="rId7" Type="http://schemas.openxmlformats.org/officeDocument/2006/relationships/tags" Target="../tags/tag25.xml"/><Relationship Id="rId6" Type="http://schemas.openxmlformats.org/officeDocument/2006/relationships/tags" Target="../tags/tag24.xml"/><Relationship Id="rId5" Type="http://schemas.openxmlformats.org/officeDocument/2006/relationships/tags" Target="../tags/tag23.xml"/><Relationship Id="rId4" Type="http://schemas.openxmlformats.org/officeDocument/2006/relationships/tags" Target="../tags/tag22.xml"/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8" Type="http://schemas.openxmlformats.org/officeDocument/2006/relationships/slideLayout" Target="../slideLayouts/slideLayout3.xml"/><Relationship Id="rId17" Type="http://schemas.openxmlformats.org/officeDocument/2006/relationships/tags" Target="../tags/tag35.xml"/><Relationship Id="rId16" Type="http://schemas.openxmlformats.org/officeDocument/2006/relationships/tags" Target="../tags/tag34.xml"/><Relationship Id="rId15" Type="http://schemas.openxmlformats.org/officeDocument/2006/relationships/tags" Target="../tags/tag33.xml"/><Relationship Id="rId14" Type="http://schemas.openxmlformats.org/officeDocument/2006/relationships/tags" Target="../tags/tag32.xml"/><Relationship Id="rId13" Type="http://schemas.openxmlformats.org/officeDocument/2006/relationships/tags" Target="../tags/tag31.xml"/><Relationship Id="rId12" Type="http://schemas.openxmlformats.org/officeDocument/2006/relationships/tags" Target="../tags/tag30.xml"/><Relationship Id="rId11" Type="http://schemas.openxmlformats.org/officeDocument/2006/relationships/tags" Target="../tags/tag29.xml"/><Relationship Id="rId10" Type="http://schemas.openxmlformats.org/officeDocument/2006/relationships/tags" Target="../tags/tag28.xml"/><Relationship Id="rId1" Type="http://schemas.openxmlformats.org/officeDocument/2006/relationships/tags" Target="../tags/tag1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3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3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38.xml"/></Relationships>
</file>

<file path=ppt/slides/_rels/slide16.xml.rels><?xml version="1.0" encoding="UTF-8" standalone="yes"?>
<Relationships xmlns="http://schemas.openxmlformats.org/package/2006/relationships"><Relationship Id="rId9" Type="http://schemas.openxmlformats.org/officeDocument/2006/relationships/image" Target="../media/image24.png"/><Relationship Id="rId8" Type="http://schemas.openxmlformats.org/officeDocument/2006/relationships/image" Target="../media/image23.png"/><Relationship Id="rId7" Type="http://schemas.openxmlformats.org/officeDocument/2006/relationships/image" Target="../media/image22.png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1" Type="http://schemas.openxmlformats.org/officeDocument/2006/relationships/slideLayout" Target="../slideLayouts/slideLayout5.xml"/><Relationship Id="rId10" Type="http://schemas.openxmlformats.org/officeDocument/2006/relationships/image" Target="../media/image25.png"/><Relationship Id="rId1" Type="http://schemas.openxmlformats.org/officeDocument/2006/relationships/image" Target="../media/image16.png"/></Relationships>
</file>

<file path=ppt/slides/_rels/slide17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1.xml"/><Relationship Id="rId3" Type="http://schemas.openxmlformats.org/officeDocument/2006/relationships/image" Target="../media/image28.jpeg"/><Relationship Id="rId2" Type="http://schemas.openxmlformats.org/officeDocument/2006/relationships/image" Target="../media/image27.png"/><Relationship Id="rId1" Type="http://schemas.openxmlformats.org/officeDocument/2006/relationships/image" Target="../media/image26.jpeg"/></Relationships>
</file>

<file path=ppt/slides/_rels/slide18.xml.rels><?xml version="1.0" encoding="UTF-8" standalone="yes"?>
<Relationships xmlns="http://schemas.openxmlformats.org/package/2006/relationships"><Relationship Id="rId9" Type="http://schemas.openxmlformats.org/officeDocument/2006/relationships/tags" Target="../tags/tag46.xml"/><Relationship Id="rId8" Type="http://schemas.openxmlformats.org/officeDocument/2006/relationships/tags" Target="../tags/tag45.xml"/><Relationship Id="rId7" Type="http://schemas.openxmlformats.org/officeDocument/2006/relationships/tags" Target="../tags/tag44.xml"/><Relationship Id="rId6" Type="http://schemas.openxmlformats.org/officeDocument/2006/relationships/tags" Target="../tags/tag43.xml"/><Relationship Id="rId5" Type="http://schemas.openxmlformats.org/officeDocument/2006/relationships/tags" Target="../tags/tag42.xml"/><Relationship Id="rId4" Type="http://schemas.openxmlformats.org/officeDocument/2006/relationships/tags" Target="../tags/tag41.xml"/><Relationship Id="rId3" Type="http://schemas.openxmlformats.org/officeDocument/2006/relationships/tags" Target="../tags/tag40.xml"/><Relationship Id="rId2" Type="http://schemas.openxmlformats.org/officeDocument/2006/relationships/image" Target="../media/image29.png"/><Relationship Id="rId12" Type="http://schemas.openxmlformats.org/officeDocument/2006/relationships/slideLayout" Target="../slideLayouts/slideLayout5.xml"/><Relationship Id="rId11" Type="http://schemas.openxmlformats.org/officeDocument/2006/relationships/tags" Target="../tags/tag48.xml"/><Relationship Id="rId10" Type="http://schemas.openxmlformats.org/officeDocument/2006/relationships/tags" Target="../tags/tag47.xml"/><Relationship Id="rId1" Type="http://schemas.openxmlformats.org/officeDocument/2006/relationships/tags" Target="../tags/tag39.xml"/></Relationships>
</file>

<file path=ppt/slides/_rels/slide19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.vml"/><Relationship Id="rId6" Type="http://schemas.openxmlformats.org/officeDocument/2006/relationships/slideLayout" Target="../slideLayouts/slideLayout4.xml"/><Relationship Id="rId5" Type="http://schemas.openxmlformats.org/officeDocument/2006/relationships/themeOverride" Target="../theme/themeOverride2.xml"/><Relationship Id="rId4" Type="http://schemas.openxmlformats.org/officeDocument/2006/relationships/tags" Target="../tags/tag50.xml"/><Relationship Id="rId3" Type="http://schemas.openxmlformats.org/officeDocument/2006/relationships/image" Target="../media/image3.emf"/><Relationship Id="rId2" Type="http://schemas.openxmlformats.org/officeDocument/2006/relationships/oleObject" Target="../embeddings/oleObject2.bin"/><Relationship Id="rId1" Type="http://schemas.openxmlformats.org/officeDocument/2006/relationships/tags" Target="../tags/tag4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image" Target="../media/image5.jpeg"/></Relationships>
</file>

<file path=ppt/slides/_rels/slide3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1.xml"/><Relationship Id="rId4" Type="http://schemas.openxmlformats.org/officeDocument/2006/relationships/tags" Target="../tags/tag4.xml"/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tags" Target="../tags/tag3.xml"/></Relationships>
</file>

<file path=ppt/slides/_rels/slide4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1.xml"/><Relationship Id="rId4" Type="http://schemas.openxmlformats.org/officeDocument/2006/relationships/tags" Target="../tags/tag6.xml"/><Relationship Id="rId3" Type="http://schemas.openxmlformats.org/officeDocument/2006/relationships/image" Target="../media/image8.jpeg"/><Relationship Id="rId2" Type="http://schemas.openxmlformats.org/officeDocument/2006/relationships/image" Target="../media/image6.jpeg"/><Relationship Id="rId1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1.xml"/><Relationship Id="rId4" Type="http://schemas.openxmlformats.org/officeDocument/2006/relationships/tags" Target="../tags/tag8.xml"/><Relationship Id="rId3" Type="http://schemas.openxmlformats.org/officeDocument/2006/relationships/image" Target="../media/image9.jpeg"/><Relationship Id="rId2" Type="http://schemas.openxmlformats.org/officeDocument/2006/relationships/image" Target="../media/image6.jpeg"/><Relationship Id="rId1" Type="http://schemas.openxmlformats.org/officeDocument/2006/relationships/tags" Target="../tags/tag7.xml"/></Relationships>
</file>

<file path=ppt/slides/_rels/slide6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1.xml"/><Relationship Id="rId4" Type="http://schemas.openxmlformats.org/officeDocument/2006/relationships/tags" Target="../tags/tag10.xml"/><Relationship Id="rId3" Type="http://schemas.openxmlformats.org/officeDocument/2006/relationships/image" Target="../media/image10.jpeg"/><Relationship Id="rId2" Type="http://schemas.openxmlformats.org/officeDocument/2006/relationships/image" Target="../media/image6.jpeg"/><Relationship Id="rId1" Type="http://schemas.openxmlformats.org/officeDocument/2006/relationships/tags" Target="../tags/tag9.xml"/></Relationships>
</file>

<file path=ppt/slides/_rels/slide7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1.xml"/><Relationship Id="rId4" Type="http://schemas.openxmlformats.org/officeDocument/2006/relationships/tags" Target="../tags/tag12.xml"/><Relationship Id="rId3" Type="http://schemas.openxmlformats.org/officeDocument/2006/relationships/image" Target="../media/image11.emf"/><Relationship Id="rId2" Type="http://schemas.openxmlformats.org/officeDocument/2006/relationships/image" Target="../media/image6.jpeg"/><Relationship Id="rId1" Type="http://schemas.openxmlformats.org/officeDocument/2006/relationships/tags" Target="../tags/tag11.xml"/></Relationships>
</file>

<file path=ppt/slides/_rels/slide8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1.xml"/><Relationship Id="rId4" Type="http://schemas.openxmlformats.org/officeDocument/2006/relationships/tags" Target="../tags/tag14.xml"/><Relationship Id="rId3" Type="http://schemas.openxmlformats.org/officeDocument/2006/relationships/image" Target="../media/image12.png"/><Relationship Id="rId2" Type="http://schemas.openxmlformats.org/officeDocument/2006/relationships/image" Target="../media/image6.jpeg"/><Relationship Id="rId1" Type="http://schemas.openxmlformats.org/officeDocument/2006/relationships/tags" Target="../tags/tag13.xml"/></Relationships>
</file>

<file path=ppt/slides/_rels/slide9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1.xml"/><Relationship Id="rId4" Type="http://schemas.openxmlformats.org/officeDocument/2006/relationships/tags" Target="../tags/tag16.xml"/><Relationship Id="rId3" Type="http://schemas.openxmlformats.org/officeDocument/2006/relationships/image" Target="../media/image13.png"/><Relationship Id="rId2" Type="http://schemas.openxmlformats.org/officeDocument/2006/relationships/image" Target="../media/image6.jpeg"/><Relationship Id="rId1" Type="http://schemas.openxmlformats.org/officeDocument/2006/relationships/tags" Target="../tags/tag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图片 1050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4446370" y="5252477"/>
            <a:ext cx="7340597" cy="296271"/>
          </a:xfrm>
        </p:spPr>
        <p:txBody>
          <a:bodyPr/>
          <a:lstStyle/>
          <a:p>
            <a:pPr algn="r"/>
            <a:r>
              <a:rPr lang="zh-CN" altLang="en-US" dirty="0">
                <a:solidFill>
                  <a:schemeClr val="tx1"/>
                </a:solidFill>
                <a:ea typeface="微软雅黑" panose="020B0503020204020204" pitchFamily="34" charset="-122"/>
              </a:rPr>
              <a:t>汇报人：邵京京</a:t>
            </a:r>
            <a:endParaRPr lang="zh-CN" altLang="en-US" dirty="0">
              <a:solidFill>
                <a:schemeClr val="tx1"/>
              </a:solidFill>
              <a:ea typeface="微软雅黑" panose="020B0503020204020204" pitchFamily="34" charset="-122"/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>
          <a:xfrm>
            <a:off x="4446370" y="5548748"/>
            <a:ext cx="7340597" cy="296271"/>
          </a:xfrm>
        </p:spPr>
        <p:txBody>
          <a:bodyPr/>
          <a:lstStyle/>
          <a:p>
            <a:pPr algn="r"/>
            <a:r>
              <a:rPr lang="zh-CN" altLang="en-US" dirty="0">
                <a:solidFill>
                  <a:schemeClr val="tx1"/>
                </a:solidFill>
                <a:ea typeface="微软雅黑" panose="020B0503020204020204" pitchFamily="34" charset="-122"/>
              </a:rPr>
              <a:t>汇报小组：坦然面队</a:t>
            </a:r>
            <a:endParaRPr lang="zh-CN" altLang="en-US" dirty="0">
              <a:solidFill>
                <a:schemeClr val="tx1"/>
              </a:solidFill>
              <a:ea typeface="微软雅黑" panose="020B0503020204020204" pitchFamily="34" charset="-122"/>
            </a:endParaRPr>
          </a:p>
        </p:txBody>
      </p:sp>
      <p:sp>
        <p:nvSpPr>
          <p:cNvPr id="16" name="ïśḷiḓè"/>
          <p:cNvSpPr>
            <a:spLocks noGrp="1"/>
          </p:cNvSpPr>
          <p:nvPr>
            <p:ph type="ctrTitle"/>
          </p:nvPr>
        </p:nvSpPr>
        <p:spPr>
          <a:xfrm>
            <a:off x="1336040" y="2133600"/>
            <a:ext cx="9893300" cy="1870075"/>
          </a:xfrm>
        </p:spPr>
        <p:txBody>
          <a:bodyPr>
            <a:noAutofit/>
          </a:bodyPr>
          <a:lstStyle/>
          <a:p>
            <a:pPr algn="r">
              <a:lnSpc>
                <a:spcPct val="100000"/>
              </a:lnSpc>
            </a:pPr>
            <a:br>
              <a:rPr lang="en-US" altLang="zh-CN" sz="2800" b="0" i="1" dirty="0">
                <a:latin typeface="Impact" panose="020B0806030902050204" pitchFamily="34" charset="0"/>
                <a:ea typeface="微软雅黑" panose="020B0503020204020204" pitchFamily="34" charset="-122"/>
              </a:rPr>
            </a:br>
            <a:r>
              <a:rPr lang="zh-CN" altLang="en-US" sz="2800" b="0" i="1" dirty="0">
                <a:solidFill>
                  <a:schemeClr val="tx1"/>
                </a:solidFill>
                <a:latin typeface="Impact" panose="020B0806030902050204" pitchFamily="34" charset="0"/>
                <a:ea typeface="微软雅黑" panose="020B0503020204020204" pitchFamily="34" charset="-122"/>
              </a:rPr>
              <a:t>第</a:t>
            </a:r>
            <a:r>
              <a:rPr lang="en-US" altLang="zh-CN" sz="2800" b="0" i="1" dirty="0">
                <a:solidFill>
                  <a:schemeClr val="tx1"/>
                </a:solidFill>
                <a:latin typeface="Impact" panose="020B0806030902050204" pitchFamily="34" charset="0"/>
                <a:ea typeface="微软雅黑" panose="020B0503020204020204" pitchFamily="34" charset="-122"/>
              </a:rPr>
              <a:t>9</a:t>
            </a:r>
            <a:r>
              <a:rPr lang="zh-CN" altLang="en-US" sz="2800" b="0" i="1" dirty="0">
                <a:solidFill>
                  <a:schemeClr val="tx1"/>
                </a:solidFill>
                <a:latin typeface="Impact" panose="020B0806030902050204" pitchFamily="34" charset="0"/>
                <a:ea typeface="微软雅黑" panose="020B0503020204020204" pitchFamily="34" charset="-122"/>
              </a:rPr>
              <a:t>组</a:t>
            </a:r>
            <a:br>
              <a:rPr lang="en-US" altLang="zh-CN" sz="6600" b="0" u="sng" dirty="0">
                <a:latin typeface="Impact" panose="020B0806030902050204" pitchFamily="34" charset="0"/>
                <a:ea typeface="微软雅黑" panose="020B0503020204020204" pitchFamily="34" charset="-122"/>
              </a:rPr>
            </a:br>
            <a:r>
              <a:rPr lang="zh-CN" altLang="en-US" sz="8000" b="1" i="1" dirty="0" smtClean="0">
                <a:solidFill>
                  <a:schemeClr val="tx1"/>
                </a:solidFill>
                <a:ea typeface="微软雅黑" panose="020B0503020204020204" pitchFamily="34" charset="-122"/>
              </a:rPr>
              <a:t>项目</a:t>
            </a:r>
            <a:r>
              <a:rPr lang="zh-CN" altLang="en-US" sz="8000" b="1" i="1" dirty="0" smtClean="0">
                <a:solidFill>
                  <a:schemeClr val="tx1"/>
                </a:solidFill>
                <a:ea typeface="微软雅黑" panose="020B0503020204020204" pitchFamily="34" charset="-122"/>
              </a:rPr>
              <a:t>中期答辩</a:t>
            </a:r>
            <a:endParaRPr lang="zh-CN" altLang="en-US" sz="8000" b="1" i="1" dirty="0" smtClean="0">
              <a:solidFill>
                <a:schemeClr val="tx1"/>
              </a:solidFill>
              <a:ea typeface="微软雅黑" panose="020B0503020204020204" pitchFamily="34" charset="-122"/>
            </a:endParaRPr>
          </a:p>
        </p:txBody>
      </p:sp>
      <p:pic>
        <p:nvPicPr>
          <p:cNvPr id="4" name="图片 3" descr="团队LOGO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00335" y="654685"/>
            <a:ext cx="1398905" cy="124333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35" name="图片 34" descr="图片包含 人员, 室内, 笔记本电脑, 墙壁&#10;&#10;描述已自动生成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rcRect/>
          <a:stretch>
            <a:fillRect/>
          </a:stretch>
        </p:blipFill>
        <p:spPr>
          <a:xfrm>
            <a:off x="9352915" y="0"/>
            <a:ext cx="2839085" cy="3274060"/>
          </a:xfrm>
          <a:custGeom>
            <a:avLst/>
            <a:gdLst>
              <a:gd name="connsiteX0" fmla="*/ 3022497 w 5943490"/>
              <a:gd name="connsiteY0" fmla="*/ 0 h 6853238"/>
              <a:gd name="connsiteX1" fmla="*/ 4403624 w 5943490"/>
              <a:gd name="connsiteY1" fmla="*/ 0 h 6853238"/>
              <a:gd name="connsiteX2" fmla="*/ 5943490 w 5943490"/>
              <a:gd name="connsiteY2" fmla="*/ 1539867 h 6853238"/>
              <a:gd name="connsiteX3" fmla="*/ 5943490 w 5943490"/>
              <a:gd name="connsiteY3" fmla="*/ 5308609 h 6853238"/>
              <a:gd name="connsiteX4" fmla="*/ 4398874 w 5943490"/>
              <a:gd name="connsiteY4" fmla="*/ 6853225 h 6853238"/>
              <a:gd name="connsiteX5" fmla="*/ 4398860 w 5943490"/>
              <a:gd name="connsiteY5" fmla="*/ 6853238 h 6853238"/>
              <a:gd name="connsiteX6" fmla="*/ 3027261 w 5943490"/>
              <a:gd name="connsiteY6" fmla="*/ 6853238 h 6853238"/>
              <a:gd name="connsiteX7" fmla="*/ 3027247 w 5943490"/>
              <a:gd name="connsiteY7" fmla="*/ 6853225 h 6853238"/>
              <a:gd name="connsiteX8" fmla="*/ 284074 w 5943490"/>
              <a:gd name="connsiteY8" fmla="*/ 4110052 h 6853238"/>
              <a:gd name="connsiteX9" fmla="*/ 284074 w 5943490"/>
              <a:gd name="connsiteY9" fmla="*/ 2738425 h 6853238"/>
              <a:gd name="connsiteX10" fmla="*/ 3022497 w 5943490"/>
              <a:gd name="connsiteY10" fmla="*/ 0 h 6853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943490" h="6853238">
                <a:moveTo>
                  <a:pt x="3022497" y="0"/>
                </a:moveTo>
                <a:lnTo>
                  <a:pt x="4403624" y="0"/>
                </a:lnTo>
                <a:lnTo>
                  <a:pt x="5943490" y="1539867"/>
                </a:lnTo>
                <a:lnTo>
                  <a:pt x="5943490" y="5308609"/>
                </a:lnTo>
                <a:lnTo>
                  <a:pt x="4398874" y="6853225"/>
                </a:lnTo>
                <a:lnTo>
                  <a:pt x="4398860" y="6853238"/>
                </a:lnTo>
                <a:lnTo>
                  <a:pt x="3027261" y="6853238"/>
                </a:lnTo>
                <a:lnTo>
                  <a:pt x="3027247" y="6853225"/>
                </a:lnTo>
                <a:lnTo>
                  <a:pt x="284074" y="4110052"/>
                </a:lnTo>
                <a:cubicBezTo>
                  <a:pt x="-94691" y="3731288"/>
                  <a:pt x="-94691" y="3117189"/>
                  <a:pt x="284074" y="2738425"/>
                </a:cubicBezTo>
                <a:lnTo>
                  <a:pt x="3022497" y="0"/>
                </a:lnTo>
                <a:close/>
              </a:path>
            </a:pathLst>
          </a:custGeom>
        </p:spPr>
      </p:pic>
      <p:sp>
        <p:nvSpPr>
          <p:cNvPr id="2" name="文本框 1"/>
          <p:cNvSpPr txBox="1"/>
          <p:nvPr/>
        </p:nvSpPr>
        <p:spPr>
          <a:xfrm>
            <a:off x="587375" y="314325"/>
            <a:ext cx="3662045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800" dirty="0">
                <a:ea typeface="微软雅黑" panose="020B0503020204020204" pitchFamily="34" charset="-122"/>
                <a:sym typeface="+mn-ea"/>
              </a:rPr>
              <a:t>项目实际架构</a:t>
            </a:r>
            <a:endParaRPr lang="zh-CN" altLang="en-US" sz="2800" dirty="0"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719455" y="1072515"/>
            <a:ext cx="270827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>
                <a:sym typeface="+mn-ea"/>
              </a:rPr>
              <a:t>使用到的技术：</a:t>
            </a:r>
            <a:r>
              <a:rPr lang="zh-CN" altLang="en-US"/>
              <a:t>JavaScript</a:t>
            </a:r>
            <a:endParaRPr lang="zh-CN" altLang="en-US"/>
          </a:p>
        </p:txBody>
      </p:sp>
      <p:pic>
        <p:nvPicPr>
          <p:cNvPr id="4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9455" y="1677035"/>
            <a:ext cx="6185535" cy="5102860"/>
          </a:xfrm>
          <a:prstGeom prst="rect">
            <a:avLst/>
          </a:prstGeom>
          <a:noFill/>
          <a:ln>
            <a:noFill/>
          </a:ln>
        </p:spPr>
      </p:pic>
    </p:spTree>
    <p:custDataLst>
      <p:tags r:id="rId4"/>
    </p:custData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50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3" grpId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4" name="ïŝḻíḓé"/>
          <p:cNvSpPr/>
          <p:nvPr/>
        </p:nvSpPr>
        <p:spPr>
          <a:xfrm>
            <a:off x="0" y="1130300"/>
            <a:ext cx="12195806" cy="1994308"/>
          </a:xfrm>
          <a:prstGeom prst="rect">
            <a:avLst/>
          </a:prstGeom>
          <a:blipFill>
            <a:blip r:embed="rId1"/>
            <a:srcRect/>
            <a:stretch>
              <a:fillRect t="-154984" b="-153022"/>
            </a:stretch>
          </a:blip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p>
            <a:endParaRPr lang="zh-CN" altLang="en-US" dirty="0">
              <a:solidFill>
                <a:schemeClr val="lt1"/>
              </a:solidFill>
              <a:ea typeface="微软雅黑" panose="020B0503020204020204" pitchFamily="34" charset="-122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360519" y="390299"/>
            <a:ext cx="1605280" cy="521970"/>
          </a:xfrm>
          <a:prstGeom prst="rect">
            <a:avLst/>
          </a:prstGeom>
        </p:spPr>
        <p:txBody>
          <a:bodyPr wrap="none">
            <a:spAutoFit/>
          </a:bodyPr>
          <a:p>
            <a:r>
              <a:rPr lang="zh-CN" altLang="en-US" sz="2800" dirty="0">
                <a:ea typeface="微软雅黑" panose="020B0503020204020204" pitchFamily="34" charset="-122"/>
              </a:rPr>
              <a:t>测试</a:t>
            </a:r>
            <a:r>
              <a:rPr lang="zh-CN" altLang="en-US" sz="2800" dirty="0">
                <a:ea typeface="微软雅黑" panose="020B0503020204020204" pitchFamily="34" charset="-122"/>
              </a:rPr>
              <a:t>规划</a:t>
            </a:r>
            <a:endParaRPr lang="zh-CN" altLang="en-US" sz="2800" dirty="0">
              <a:ea typeface="微软雅黑" panose="020B0503020204020204" pitchFamily="34" charset="-122"/>
            </a:endParaRPr>
          </a:p>
        </p:txBody>
      </p:sp>
      <p:sp>
        <p:nvSpPr>
          <p:cNvPr id="38" name="îṥḻïḍe"/>
          <p:cNvSpPr/>
          <p:nvPr/>
        </p:nvSpPr>
        <p:spPr>
          <a:xfrm flipH="1">
            <a:off x="1999710" y="2489949"/>
            <a:ext cx="971478" cy="971478"/>
          </a:xfrm>
          <a:prstGeom prst="ellipse">
            <a:avLst/>
          </a:prstGeom>
          <a:solidFill>
            <a:schemeClr val="bg1"/>
          </a:solidFill>
          <a:ln w="38100" cap="flat" cmpd="sng" algn="ctr">
            <a:solidFill>
              <a:schemeClr val="tx2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 lang="zh-CN" altLang="en-US" kern="0">
              <a:solidFill>
                <a:prstClr val="white"/>
              </a:solidFill>
              <a:ea typeface="微软雅黑" panose="020B0503020204020204" pitchFamily="34" charset="-122"/>
            </a:endParaRPr>
          </a:p>
        </p:txBody>
      </p:sp>
      <p:sp>
        <p:nvSpPr>
          <p:cNvPr id="39" name="îṣļïḍè" title="S8je3JnNJtZFZzf"/>
          <p:cNvSpPr/>
          <p:nvPr/>
        </p:nvSpPr>
        <p:spPr bwMode="auto">
          <a:xfrm>
            <a:off x="2208725" y="2699379"/>
            <a:ext cx="553449" cy="552618"/>
          </a:xfrm>
          <a:custGeom>
            <a:avLst/>
            <a:gdLst>
              <a:gd name="connsiteX0" fmla="*/ 482139 w 607634"/>
              <a:gd name="connsiteY0" fmla="*/ 527565 h 606722"/>
              <a:gd name="connsiteX1" fmla="*/ 462292 w 607634"/>
              <a:gd name="connsiteY1" fmla="*/ 547377 h 606722"/>
              <a:gd name="connsiteX2" fmla="*/ 482139 w 607634"/>
              <a:gd name="connsiteY2" fmla="*/ 567099 h 606722"/>
              <a:gd name="connsiteX3" fmla="*/ 501896 w 607634"/>
              <a:gd name="connsiteY3" fmla="*/ 547377 h 606722"/>
              <a:gd name="connsiteX4" fmla="*/ 482139 w 607634"/>
              <a:gd name="connsiteY4" fmla="*/ 527565 h 606722"/>
              <a:gd name="connsiteX5" fmla="*/ 257600 w 607634"/>
              <a:gd name="connsiteY5" fmla="*/ 527565 h 606722"/>
              <a:gd name="connsiteX6" fmla="*/ 237753 w 607634"/>
              <a:gd name="connsiteY6" fmla="*/ 547377 h 606722"/>
              <a:gd name="connsiteX7" fmla="*/ 257600 w 607634"/>
              <a:gd name="connsiteY7" fmla="*/ 567099 h 606722"/>
              <a:gd name="connsiteX8" fmla="*/ 277446 w 607634"/>
              <a:gd name="connsiteY8" fmla="*/ 547377 h 606722"/>
              <a:gd name="connsiteX9" fmla="*/ 257600 w 607634"/>
              <a:gd name="connsiteY9" fmla="*/ 527565 h 606722"/>
              <a:gd name="connsiteX10" fmla="*/ 482139 w 607634"/>
              <a:gd name="connsiteY10" fmla="*/ 488031 h 606722"/>
              <a:gd name="connsiteX11" fmla="*/ 541590 w 607634"/>
              <a:gd name="connsiteY11" fmla="*/ 547377 h 606722"/>
              <a:gd name="connsiteX12" fmla="*/ 482139 w 607634"/>
              <a:gd name="connsiteY12" fmla="*/ 606722 h 606722"/>
              <a:gd name="connsiteX13" fmla="*/ 422687 w 607634"/>
              <a:gd name="connsiteY13" fmla="*/ 547377 h 606722"/>
              <a:gd name="connsiteX14" fmla="*/ 482139 w 607634"/>
              <a:gd name="connsiteY14" fmla="*/ 488031 h 606722"/>
              <a:gd name="connsiteX15" fmla="*/ 257600 w 607634"/>
              <a:gd name="connsiteY15" fmla="*/ 488031 h 606722"/>
              <a:gd name="connsiteX16" fmla="*/ 317051 w 607634"/>
              <a:gd name="connsiteY16" fmla="*/ 547377 h 606722"/>
              <a:gd name="connsiteX17" fmla="*/ 257600 w 607634"/>
              <a:gd name="connsiteY17" fmla="*/ 606722 h 606722"/>
              <a:gd name="connsiteX18" fmla="*/ 198148 w 607634"/>
              <a:gd name="connsiteY18" fmla="*/ 547377 h 606722"/>
              <a:gd name="connsiteX19" fmla="*/ 257600 w 607634"/>
              <a:gd name="connsiteY19" fmla="*/ 488031 h 606722"/>
              <a:gd name="connsiteX20" fmla="*/ 482143 w 607634"/>
              <a:gd name="connsiteY20" fmla="*/ 171433 h 606722"/>
              <a:gd name="connsiteX21" fmla="*/ 462295 w 607634"/>
              <a:gd name="connsiteY21" fmla="*/ 191251 h 606722"/>
              <a:gd name="connsiteX22" fmla="*/ 462295 w 607634"/>
              <a:gd name="connsiteY22" fmla="*/ 270346 h 606722"/>
              <a:gd name="connsiteX23" fmla="*/ 482143 w 607634"/>
              <a:gd name="connsiteY23" fmla="*/ 290164 h 606722"/>
              <a:gd name="connsiteX24" fmla="*/ 501902 w 607634"/>
              <a:gd name="connsiteY24" fmla="*/ 270346 h 606722"/>
              <a:gd name="connsiteX25" fmla="*/ 501902 w 607634"/>
              <a:gd name="connsiteY25" fmla="*/ 191251 h 606722"/>
              <a:gd name="connsiteX26" fmla="*/ 482143 w 607634"/>
              <a:gd name="connsiteY26" fmla="*/ 171433 h 606722"/>
              <a:gd name="connsiteX27" fmla="*/ 363232 w 607634"/>
              <a:gd name="connsiteY27" fmla="*/ 171433 h 606722"/>
              <a:gd name="connsiteX28" fmla="*/ 343472 w 607634"/>
              <a:gd name="connsiteY28" fmla="*/ 191251 h 606722"/>
              <a:gd name="connsiteX29" fmla="*/ 343472 w 607634"/>
              <a:gd name="connsiteY29" fmla="*/ 270346 h 606722"/>
              <a:gd name="connsiteX30" fmla="*/ 363232 w 607634"/>
              <a:gd name="connsiteY30" fmla="*/ 290164 h 606722"/>
              <a:gd name="connsiteX31" fmla="*/ 383080 w 607634"/>
              <a:gd name="connsiteY31" fmla="*/ 270346 h 606722"/>
              <a:gd name="connsiteX32" fmla="*/ 383080 w 607634"/>
              <a:gd name="connsiteY32" fmla="*/ 191251 h 606722"/>
              <a:gd name="connsiteX33" fmla="*/ 363232 w 607634"/>
              <a:gd name="connsiteY33" fmla="*/ 171433 h 606722"/>
              <a:gd name="connsiteX34" fmla="*/ 244320 w 607634"/>
              <a:gd name="connsiteY34" fmla="*/ 171433 h 606722"/>
              <a:gd name="connsiteX35" fmla="*/ 224561 w 607634"/>
              <a:gd name="connsiteY35" fmla="*/ 191251 h 606722"/>
              <a:gd name="connsiteX36" fmla="*/ 224561 w 607634"/>
              <a:gd name="connsiteY36" fmla="*/ 270346 h 606722"/>
              <a:gd name="connsiteX37" fmla="*/ 244320 w 607634"/>
              <a:gd name="connsiteY37" fmla="*/ 290164 h 606722"/>
              <a:gd name="connsiteX38" fmla="*/ 264169 w 607634"/>
              <a:gd name="connsiteY38" fmla="*/ 270346 h 606722"/>
              <a:gd name="connsiteX39" fmla="*/ 264169 w 607634"/>
              <a:gd name="connsiteY39" fmla="*/ 191251 h 606722"/>
              <a:gd name="connsiteX40" fmla="*/ 244320 w 607634"/>
              <a:gd name="connsiteY40" fmla="*/ 171433 h 606722"/>
              <a:gd name="connsiteX41" fmla="*/ 19848 w 607634"/>
              <a:gd name="connsiteY41" fmla="*/ 0 h 606722"/>
              <a:gd name="connsiteX42" fmla="*/ 112236 w 607634"/>
              <a:gd name="connsiteY42" fmla="*/ 0 h 606722"/>
              <a:gd name="connsiteX43" fmla="*/ 131728 w 607634"/>
              <a:gd name="connsiteY43" fmla="*/ 15997 h 606722"/>
              <a:gd name="connsiteX44" fmla="*/ 146503 w 607634"/>
              <a:gd name="connsiteY44" fmla="*/ 92337 h 606722"/>
              <a:gd name="connsiteX45" fmla="*/ 587793 w 607634"/>
              <a:gd name="connsiteY45" fmla="*/ 92337 h 606722"/>
              <a:gd name="connsiteX46" fmla="*/ 607374 w 607634"/>
              <a:gd name="connsiteY46" fmla="*/ 115355 h 606722"/>
              <a:gd name="connsiteX47" fmla="*/ 571149 w 607634"/>
              <a:gd name="connsiteY47" fmla="*/ 332378 h 606722"/>
              <a:gd name="connsiteX48" fmla="*/ 581206 w 607634"/>
              <a:gd name="connsiteY48" fmla="*/ 349530 h 606722"/>
              <a:gd name="connsiteX49" fmla="*/ 565007 w 607634"/>
              <a:gd name="connsiteY49" fmla="*/ 368904 h 606722"/>
              <a:gd name="connsiteX50" fmla="*/ 564918 w 607634"/>
              <a:gd name="connsiteY50" fmla="*/ 369260 h 606722"/>
              <a:gd name="connsiteX51" fmla="*/ 561358 w 607634"/>
              <a:gd name="connsiteY51" fmla="*/ 369260 h 606722"/>
              <a:gd name="connsiteX52" fmla="*/ 178278 w 607634"/>
              <a:gd name="connsiteY52" fmla="*/ 369260 h 606722"/>
              <a:gd name="connsiteX53" fmla="*/ 158519 w 607634"/>
              <a:gd name="connsiteY53" fmla="*/ 389078 h 606722"/>
              <a:gd name="connsiteX54" fmla="*/ 178278 w 607634"/>
              <a:gd name="connsiteY54" fmla="*/ 408896 h 606722"/>
              <a:gd name="connsiteX55" fmla="*/ 561358 w 607634"/>
              <a:gd name="connsiteY55" fmla="*/ 408896 h 606722"/>
              <a:gd name="connsiteX56" fmla="*/ 581206 w 607634"/>
              <a:gd name="connsiteY56" fmla="*/ 428626 h 606722"/>
              <a:gd name="connsiteX57" fmla="*/ 561358 w 607634"/>
              <a:gd name="connsiteY57" fmla="*/ 448444 h 606722"/>
              <a:gd name="connsiteX58" fmla="*/ 178278 w 607634"/>
              <a:gd name="connsiteY58" fmla="*/ 448444 h 606722"/>
              <a:gd name="connsiteX59" fmla="*/ 118911 w 607634"/>
              <a:gd name="connsiteY59" fmla="*/ 389078 h 606722"/>
              <a:gd name="connsiteX60" fmla="*/ 153268 w 607634"/>
              <a:gd name="connsiteY60" fmla="*/ 335400 h 606722"/>
              <a:gd name="connsiteX61" fmla="*/ 106184 w 607634"/>
              <a:gd name="connsiteY61" fmla="*/ 92337 h 606722"/>
              <a:gd name="connsiteX62" fmla="*/ 95948 w 607634"/>
              <a:gd name="connsiteY62" fmla="*/ 39548 h 606722"/>
              <a:gd name="connsiteX63" fmla="*/ 19848 w 607634"/>
              <a:gd name="connsiteY63" fmla="*/ 39548 h 606722"/>
              <a:gd name="connsiteX64" fmla="*/ 0 w 607634"/>
              <a:gd name="connsiteY64" fmla="*/ 19818 h 606722"/>
              <a:gd name="connsiteX65" fmla="*/ 19848 w 607634"/>
              <a:gd name="connsiteY65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607634" h="606722">
                <a:moveTo>
                  <a:pt x="482139" y="527565"/>
                </a:moveTo>
                <a:cubicBezTo>
                  <a:pt x="471192" y="527565"/>
                  <a:pt x="462292" y="536449"/>
                  <a:pt x="462292" y="547377"/>
                </a:cubicBezTo>
                <a:cubicBezTo>
                  <a:pt x="462292" y="558304"/>
                  <a:pt x="471192" y="567099"/>
                  <a:pt x="482139" y="567099"/>
                </a:cubicBezTo>
                <a:cubicBezTo>
                  <a:pt x="493085" y="567099"/>
                  <a:pt x="501896" y="558304"/>
                  <a:pt x="501896" y="547377"/>
                </a:cubicBezTo>
                <a:cubicBezTo>
                  <a:pt x="501896" y="536449"/>
                  <a:pt x="493085" y="527565"/>
                  <a:pt x="482139" y="527565"/>
                </a:cubicBezTo>
                <a:close/>
                <a:moveTo>
                  <a:pt x="257600" y="527565"/>
                </a:moveTo>
                <a:cubicBezTo>
                  <a:pt x="246653" y="527565"/>
                  <a:pt x="237753" y="536449"/>
                  <a:pt x="237753" y="547377"/>
                </a:cubicBezTo>
                <a:cubicBezTo>
                  <a:pt x="237753" y="558304"/>
                  <a:pt x="246653" y="567099"/>
                  <a:pt x="257600" y="567099"/>
                </a:cubicBezTo>
                <a:cubicBezTo>
                  <a:pt x="268546" y="567099"/>
                  <a:pt x="277446" y="558304"/>
                  <a:pt x="277446" y="547377"/>
                </a:cubicBezTo>
                <a:cubicBezTo>
                  <a:pt x="277446" y="536449"/>
                  <a:pt x="268546" y="527565"/>
                  <a:pt x="257600" y="527565"/>
                </a:cubicBezTo>
                <a:close/>
                <a:moveTo>
                  <a:pt x="482139" y="488031"/>
                </a:moveTo>
                <a:cubicBezTo>
                  <a:pt x="514890" y="488031"/>
                  <a:pt x="541590" y="514683"/>
                  <a:pt x="541590" y="547377"/>
                </a:cubicBezTo>
                <a:cubicBezTo>
                  <a:pt x="541590" y="580070"/>
                  <a:pt x="514890" y="606722"/>
                  <a:pt x="482139" y="606722"/>
                </a:cubicBezTo>
                <a:cubicBezTo>
                  <a:pt x="449387" y="606722"/>
                  <a:pt x="422687" y="580070"/>
                  <a:pt x="422687" y="547377"/>
                </a:cubicBezTo>
                <a:cubicBezTo>
                  <a:pt x="422687" y="514683"/>
                  <a:pt x="449387" y="488031"/>
                  <a:pt x="482139" y="488031"/>
                </a:cubicBezTo>
                <a:close/>
                <a:moveTo>
                  <a:pt x="257600" y="488031"/>
                </a:moveTo>
                <a:cubicBezTo>
                  <a:pt x="290351" y="488031"/>
                  <a:pt x="317051" y="514683"/>
                  <a:pt x="317051" y="547377"/>
                </a:cubicBezTo>
                <a:cubicBezTo>
                  <a:pt x="317051" y="580070"/>
                  <a:pt x="290351" y="606722"/>
                  <a:pt x="257600" y="606722"/>
                </a:cubicBezTo>
                <a:cubicBezTo>
                  <a:pt x="224848" y="606722"/>
                  <a:pt x="198148" y="580070"/>
                  <a:pt x="198148" y="547377"/>
                </a:cubicBezTo>
                <a:cubicBezTo>
                  <a:pt x="198148" y="514683"/>
                  <a:pt x="224848" y="488031"/>
                  <a:pt x="257600" y="488031"/>
                </a:cubicBezTo>
                <a:close/>
                <a:moveTo>
                  <a:pt x="482143" y="171433"/>
                </a:moveTo>
                <a:cubicBezTo>
                  <a:pt x="471195" y="171433"/>
                  <a:pt x="462295" y="180320"/>
                  <a:pt x="462295" y="191251"/>
                </a:cubicBezTo>
                <a:lnTo>
                  <a:pt x="462295" y="270346"/>
                </a:lnTo>
                <a:cubicBezTo>
                  <a:pt x="462295" y="281277"/>
                  <a:pt x="471195" y="290164"/>
                  <a:pt x="482143" y="290164"/>
                </a:cubicBezTo>
                <a:cubicBezTo>
                  <a:pt x="493091" y="290164"/>
                  <a:pt x="501902" y="281277"/>
                  <a:pt x="501902" y="270346"/>
                </a:cubicBezTo>
                <a:lnTo>
                  <a:pt x="501902" y="191251"/>
                </a:lnTo>
                <a:cubicBezTo>
                  <a:pt x="501902" y="180320"/>
                  <a:pt x="493091" y="171433"/>
                  <a:pt x="482143" y="171433"/>
                </a:cubicBezTo>
                <a:close/>
                <a:moveTo>
                  <a:pt x="363232" y="171433"/>
                </a:moveTo>
                <a:cubicBezTo>
                  <a:pt x="352284" y="171433"/>
                  <a:pt x="343472" y="180320"/>
                  <a:pt x="343472" y="191251"/>
                </a:cubicBezTo>
                <a:lnTo>
                  <a:pt x="343472" y="270346"/>
                </a:lnTo>
                <a:cubicBezTo>
                  <a:pt x="343472" y="281277"/>
                  <a:pt x="352284" y="290164"/>
                  <a:pt x="363232" y="290164"/>
                </a:cubicBezTo>
                <a:cubicBezTo>
                  <a:pt x="374179" y="290164"/>
                  <a:pt x="383080" y="281277"/>
                  <a:pt x="383080" y="270346"/>
                </a:cubicBezTo>
                <a:lnTo>
                  <a:pt x="383080" y="191251"/>
                </a:lnTo>
                <a:cubicBezTo>
                  <a:pt x="383080" y="180320"/>
                  <a:pt x="374179" y="171433"/>
                  <a:pt x="363232" y="171433"/>
                </a:cubicBezTo>
                <a:close/>
                <a:moveTo>
                  <a:pt x="244320" y="171433"/>
                </a:moveTo>
                <a:cubicBezTo>
                  <a:pt x="233462" y="171433"/>
                  <a:pt x="224561" y="180320"/>
                  <a:pt x="224561" y="191251"/>
                </a:cubicBezTo>
                <a:lnTo>
                  <a:pt x="224561" y="270346"/>
                </a:lnTo>
                <a:cubicBezTo>
                  <a:pt x="224561" y="281277"/>
                  <a:pt x="233462" y="290164"/>
                  <a:pt x="244320" y="290164"/>
                </a:cubicBezTo>
                <a:cubicBezTo>
                  <a:pt x="255268" y="290164"/>
                  <a:pt x="264169" y="281277"/>
                  <a:pt x="264169" y="270346"/>
                </a:cubicBezTo>
                <a:lnTo>
                  <a:pt x="264169" y="191251"/>
                </a:lnTo>
                <a:cubicBezTo>
                  <a:pt x="264169" y="180320"/>
                  <a:pt x="255268" y="171433"/>
                  <a:pt x="244320" y="171433"/>
                </a:cubicBezTo>
                <a:close/>
                <a:moveTo>
                  <a:pt x="19848" y="0"/>
                </a:moveTo>
                <a:lnTo>
                  <a:pt x="112236" y="0"/>
                </a:lnTo>
                <a:cubicBezTo>
                  <a:pt x="121760" y="0"/>
                  <a:pt x="129948" y="6754"/>
                  <a:pt x="131728" y="15997"/>
                </a:cubicBezTo>
                <a:lnTo>
                  <a:pt x="146503" y="92337"/>
                </a:lnTo>
                <a:lnTo>
                  <a:pt x="587793" y="92337"/>
                </a:lnTo>
                <a:cubicBezTo>
                  <a:pt x="599987" y="92337"/>
                  <a:pt x="609332" y="103268"/>
                  <a:pt x="607374" y="115355"/>
                </a:cubicBezTo>
                <a:lnTo>
                  <a:pt x="571149" y="332378"/>
                </a:lnTo>
                <a:cubicBezTo>
                  <a:pt x="577112" y="335755"/>
                  <a:pt x="581206" y="342154"/>
                  <a:pt x="581206" y="349530"/>
                </a:cubicBezTo>
                <a:cubicBezTo>
                  <a:pt x="581206" y="359217"/>
                  <a:pt x="574175" y="367216"/>
                  <a:pt x="565007" y="368904"/>
                </a:cubicBezTo>
                <a:lnTo>
                  <a:pt x="564918" y="369260"/>
                </a:lnTo>
                <a:lnTo>
                  <a:pt x="561358" y="369260"/>
                </a:lnTo>
                <a:lnTo>
                  <a:pt x="178278" y="369260"/>
                </a:lnTo>
                <a:cubicBezTo>
                  <a:pt x="167420" y="369260"/>
                  <a:pt x="158519" y="378147"/>
                  <a:pt x="158519" y="389078"/>
                </a:cubicBezTo>
                <a:cubicBezTo>
                  <a:pt x="158519" y="400009"/>
                  <a:pt x="167420" y="408896"/>
                  <a:pt x="178278" y="408896"/>
                </a:cubicBezTo>
                <a:lnTo>
                  <a:pt x="561358" y="408896"/>
                </a:lnTo>
                <a:cubicBezTo>
                  <a:pt x="572306" y="408896"/>
                  <a:pt x="581206" y="417695"/>
                  <a:pt x="581206" y="428626"/>
                </a:cubicBezTo>
                <a:cubicBezTo>
                  <a:pt x="581206" y="439557"/>
                  <a:pt x="572306" y="448444"/>
                  <a:pt x="561358" y="448444"/>
                </a:cubicBezTo>
                <a:lnTo>
                  <a:pt x="178278" y="448444"/>
                </a:lnTo>
                <a:cubicBezTo>
                  <a:pt x="145524" y="448444"/>
                  <a:pt x="118911" y="421783"/>
                  <a:pt x="118911" y="389078"/>
                </a:cubicBezTo>
                <a:cubicBezTo>
                  <a:pt x="118911" y="365349"/>
                  <a:pt x="133063" y="344909"/>
                  <a:pt x="153268" y="335400"/>
                </a:cubicBezTo>
                <a:lnTo>
                  <a:pt x="106184" y="92337"/>
                </a:lnTo>
                <a:lnTo>
                  <a:pt x="95948" y="39548"/>
                </a:lnTo>
                <a:lnTo>
                  <a:pt x="19848" y="39548"/>
                </a:lnTo>
                <a:cubicBezTo>
                  <a:pt x="8901" y="39548"/>
                  <a:pt x="0" y="30749"/>
                  <a:pt x="0" y="19818"/>
                </a:cubicBezTo>
                <a:cubicBezTo>
                  <a:pt x="0" y="8887"/>
                  <a:pt x="8901" y="0"/>
                  <a:pt x="19848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微软雅黑" panose="020B0503020204020204" pitchFamily="34" charset="-122"/>
            </a:endParaRPr>
          </a:p>
        </p:txBody>
      </p:sp>
      <p:sp>
        <p:nvSpPr>
          <p:cNvPr id="34" name="îšļiḓe"/>
          <p:cNvSpPr/>
          <p:nvPr/>
        </p:nvSpPr>
        <p:spPr>
          <a:xfrm flipH="1">
            <a:off x="5610261" y="2489949"/>
            <a:ext cx="971478" cy="971478"/>
          </a:xfrm>
          <a:prstGeom prst="ellipse">
            <a:avLst/>
          </a:prstGeom>
          <a:solidFill>
            <a:schemeClr val="bg1"/>
          </a:solidFill>
          <a:ln w="38100" cap="flat" cmpd="sng" algn="ctr">
            <a:solidFill>
              <a:schemeClr val="tx2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 lang="zh-CN" altLang="en-US" kern="0">
              <a:solidFill>
                <a:prstClr val="white"/>
              </a:solidFill>
              <a:ea typeface="微软雅黑" panose="020B0503020204020204" pitchFamily="34" charset="-122"/>
            </a:endParaRPr>
          </a:p>
        </p:txBody>
      </p:sp>
      <p:sp>
        <p:nvSpPr>
          <p:cNvPr id="35" name="iṧḻîḋé" title="S8je3JnNJtZFZzf"/>
          <p:cNvSpPr/>
          <p:nvPr/>
        </p:nvSpPr>
        <p:spPr bwMode="auto">
          <a:xfrm>
            <a:off x="5819276" y="2717651"/>
            <a:ext cx="553449" cy="516072"/>
          </a:xfrm>
          <a:custGeom>
            <a:avLst/>
            <a:gdLst>
              <a:gd name="T0" fmla="*/ 3958 w 4630"/>
              <a:gd name="T1" fmla="*/ 1193 h 4324"/>
              <a:gd name="T2" fmla="*/ 3772 w 4630"/>
              <a:gd name="T3" fmla="*/ 1223 h 4324"/>
              <a:gd name="T4" fmla="*/ 3358 w 4630"/>
              <a:gd name="T5" fmla="*/ 1778 h 4324"/>
              <a:gd name="T6" fmla="*/ 3055 w 4630"/>
              <a:gd name="T7" fmla="*/ 1876 h 4324"/>
              <a:gd name="T8" fmla="*/ 2515 w 4630"/>
              <a:gd name="T9" fmla="*/ 1484 h 4324"/>
              <a:gd name="T10" fmla="*/ 2515 w 4630"/>
              <a:gd name="T11" fmla="*/ 1166 h 4324"/>
              <a:gd name="T12" fmla="*/ 2915 w 4630"/>
              <a:gd name="T13" fmla="*/ 600 h 4324"/>
              <a:gd name="T14" fmla="*/ 2315 w 4630"/>
              <a:gd name="T15" fmla="*/ 0 h 4324"/>
              <a:gd name="T16" fmla="*/ 1715 w 4630"/>
              <a:gd name="T17" fmla="*/ 600 h 4324"/>
              <a:gd name="T18" fmla="*/ 2115 w 4630"/>
              <a:gd name="T19" fmla="*/ 1166 h 4324"/>
              <a:gd name="T20" fmla="*/ 2115 w 4630"/>
              <a:gd name="T21" fmla="*/ 1484 h 4324"/>
              <a:gd name="T22" fmla="*/ 1575 w 4630"/>
              <a:gd name="T23" fmla="*/ 1877 h 4324"/>
              <a:gd name="T24" fmla="*/ 1273 w 4630"/>
              <a:gd name="T25" fmla="*/ 1778 h 4324"/>
              <a:gd name="T26" fmla="*/ 858 w 4630"/>
              <a:gd name="T27" fmla="*/ 1223 h 4324"/>
              <a:gd name="T28" fmla="*/ 673 w 4630"/>
              <a:gd name="T29" fmla="*/ 1193 h 4324"/>
              <a:gd name="T30" fmla="*/ 102 w 4630"/>
              <a:gd name="T31" fmla="*/ 1608 h 4324"/>
              <a:gd name="T32" fmla="*/ 488 w 4630"/>
              <a:gd name="T33" fmla="*/ 2364 h 4324"/>
              <a:gd name="T34" fmla="*/ 673 w 4630"/>
              <a:gd name="T35" fmla="*/ 2394 h 4324"/>
              <a:gd name="T36" fmla="*/ 1149 w 4630"/>
              <a:gd name="T37" fmla="*/ 2159 h 4324"/>
              <a:gd name="T38" fmla="*/ 1452 w 4630"/>
              <a:gd name="T39" fmla="*/ 2258 h 4324"/>
              <a:gd name="T40" fmla="*/ 1449 w 4630"/>
              <a:gd name="T41" fmla="*/ 2327 h 4324"/>
              <a:gd name="T42" fmla="*/ 1658 w 4630"/>
              <a:gd name="T43" fmla="*/ 2891 h 4324"/>
              <a:gd name="T44" fmla="*/ 1471 w 4630"/>
              <a:gd name="T45" fmla="*/ 3149 h 4324"/>
              <a:gd name="T46" fmla="*/ 1301 w 4630"/>
              <a:gd name="T47" fmla="*/ 3124 h 4324"/>
              <a:gd name="T48" fmla="*/ 815 w 4630"/>
              <a:gd name="T49" fmla="*/ 3371 h 4324"/>
              <a:gd name="T50" fmla="*/ 948 w 4630"/>
              <a:gd name="T51" fmla="*/ 4209 h 4324"/>
              <a:gd name="T52" fmla="*/ 1300 w 4630"/>
              <a:gd name="T53" fmla="*/ 4324 h 4324"/>
              <a:gd name="T54" fmla="*/ 1786 w 4630"/>
              <a:gd name="T55" fmla="*/ 4077 h 4324"/>
              <a:gd name="T56" fmla="*/ 1795 w 4630"/>
              <a:gd name="T57" fmla="*/ 3384 h 4324"/>
              <a:gd name="T58" fmla="*/ 1981 w 4630"/>
              <a:gd name="T59" fmla="*/ 3127 h 4324"/>
              <a:gd name="T60" fmla="*/ 2315 w 4630"/>
              <a:gd name="T61" fmla="*/ 3194 h 4324"/>
              <a:gd name="T62" fmla="*/ 2647 w 4630"/>
              <a:gd name="T63" fmla="*/ 3127 h 4324"/>
              <a:gd name="T64" fmla="*/ 2836 w 4630"/>
              <a:gd name="T65" fmla="*/ 3385 h 4324"/>
              <a:gd name="T66" fmla="*/ 2845 w 4630"/>
              <a:gd name="T67" fmla="*/ 4077 h 4324"/>
              <a:gd name="T68" fmla="*/ 3331 w 4630"/>
              <a:gd name="T69" fmla="*/ 4324 h 4324"/>
              <a:gd name="T70" fmla="*/ 3331 w 4630"/>
              <a:gd name="T71" fmla="*/ 4324 h 4324"/>
              <a:gd name="T72" fmla="*/ 3683 w 4630"/>
              <a:gd name="T73" fmla="*/ 4209 h 4324"/>
              <a:gd name="T74" fmla="*/ 3816 w 4630"/>
              <a:gd name="T75" fmla="*/ 3371 h 4324"/>
              <a:gd name="T76" fmla="*/ 3330 w 4630"/>
              <a:gd name="T77" fmla="*/ 3124 h 4324"/>
              <a:gd name="T78" fmla="*/ 3159 w 4630"/>
              <a:gd name="T79" fmla="*/ 3149 h 4324"/>
              <a:gd name="T80" fmla="*/ 2971 w 4630"/>
              <a:gd name="T81" fmla="*/ 2893 h 4324"/>
              <a:gd name="T82" fmla="*/ 3182 w 4630"/>
              <a:gd name="T83" fmla="*/ 2327 h 4324"/>
              <a:gd name="T84" fmla="*/ 3179 w 4630"/>
              <a:gd name="T85" fmla="*/ 2257 h 4324"/>
              <a:gd name="T86" fmla="*/ 3481 w 4630"/>
              <a:gd name="T87" fmla="*/ 2159 h 4324"/>
              <a:gd name="T88" fmla="*/ 3957 w 4630"/>
              <a:gd name="T89" fmla="*/ 2394 h 4324"/>
              <a:gd name="T90" fmla="*/ 3957 w 4630"/>
              <a:gd name="T91" fmla="*/ 2394 h 4324"/>
              <a:gd name="T92" fmla="*/ 4143 w 4630"/>
              <a:gd name="T93" fmla="*/ 2364 h 4324"/>
              <a:gd name="T94" fmla="*/ 4528 w 4630"/>
              <a:gd name="T95" fmla="*/ 1608 h 4324"/>
              <a:gd name="T96" fmla="*/ 3958 w 4630"/>
              <a:gd name="T97" fmla="*/ 1193 h 43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4630" h="4324">
                <a:moveTo>
                  <a:pt x="3958" y="1193"/>
                </a:moveTo>
                <a:cubicBezTo>
                  <a:pt x="3895" y="1193"/>
                  <a:pt x="3832" y="1203"/>
                  <a:pt x="3772" y="1223"/>
                </a:cubicBezTo>
                <a:cubicBezTo>
                  <a:pt x="3524" y="1304"/>
                  <a:pt x="3364" y="1531"/>
                  <a:pt x="3358" y="1778"/>
                </a:cubicBezTo>
                <a:lnTo>
                  <a:pt x="3055" y="1876"/>
                </a:lnTo>
                <a:cubicBezTo>
                  <a:pt x="2936" y="1682"/>
                  <a:pt x="2743" y="1538"/>
                  <a:pt x="2515" y="1484"/>
                </a:cubicBezTo>
                <a:lnTo>
                  <a:pt x="2515" y="1166"/>
                </a:lnTo>
                <a:cubicBezTo>
                  <a:pt x="2748" y="1083"/>
                  <a:pt x="2915" y="861"/>
                  <a:pt x="2915" y="600"/>
                </a:cubicBezTo>
                <a:cubicBezTo>
                  <a:pt x="2915" y="270"/>
                  <a:pt x="2646" y="0"/>
                  <a:pt x="2315" y="0"/>
                </a:cubicBezTo>
                <a:cubicBezTo>
                  <a:pt x="1984" y="0"/>
                  <a:pt x="1715" y="270"/>
                  <a:pt x="1715" y="600"/>
                </a:cubicBezTo>
                <a:cubicBezTo>
                  <a:pt x="1715" y="861"/>
                  <a:pt x="1882" y="1083"/>
                  <a:pt x="2115" y="1166"/>
                </a:cubicBezTo>
                <a:lnTo>
                  <a:pt x="2115" y="1484"/>
                </a:lnTo>
                <a:cubicBezTo>
                  <a:pt x="1887" y="1538"/>
                  <a:pt x="1694" y="1682"/>
                  <a:pt x="1575" y="1877"/>
                </a:cubicBezTo>
                <a:lnTo>
                  <a:pt x="1273" y="1778"/>
                </a:lnTo>
                <a:cubicBezTo>
                  <a:pt x="1266" y="1531"/>
                  <a:pt x="1107" y="1304"/>
                  <a:pt x="858" y="1223"/>
                </a:cubicBezTo>
                <a:cubicBezTo>
                  <a:pt x="798" y="1203"/>
                  <a:pt x="736" y="1193"/>
                  <a:pt x="673" y="1193"/>
                </a:cubicBezTo>
                <a:cubicBezTo>
                  <a:pt x="412" y="1193"/>
                  <a:pt x="183" y="1360"/>
                  <a:pt x="102" y="1608"/>
                </a:cubicBezTo>
                <a:cubicBezTo>
                  <a:pt x="0" y="1923"/>
                  <a:pt x="173" y="2262"/>
                  <a:pt x="488" y="2364"/>
                </a:cubicBezTo>
                <a:cubicBezTo>
                  <a:pt x="548" y="2384"/>
                  <a:pt x="610" y="2394"/>
                  <a:pt x="673" y="2394"/>
                </a:cubicBezTo>
                <a:cubicBezTo>
                  <a:pt x="864" y="2394"/>
                  <a:pt x="1038" y="2304"/>
                  <a:pt x="1149" y="2159"/>
                </a:cubicBezTo>
                <a:lnTo>
                  <a:pt x="1452" y="2258"/>
                </a:lnTo>
                <a:cubicBezTo>
                  <a:pt x="1450" y="2281"/>
                  <a:pt x="1449" y="2304"/>
                  <a:pt x="1449" y="2327"/>
                </a:cubicBezTo>
                <a:cubicBezTo>
                  <a:pt x="1449" y="2542"/>
                  <a:pt x="1528" y="2740"/>
                  <a:pt x="1658" y="2891"/>
                </a:cubicBezTo>
                <a:lnTo>
                  <a:pt x="1471" y="3149"/>
                </a:lnTo>
                <a:cubicBezTo>
                  <a:pt x="1416" y="3132"/>
                  <a:pt x="1359" y="3124"/>
                  <a:pt x="1301" y="3124"/>
                </a:cubicBezTo>
                <a:cubicBezTo>
                  <a:pt x="1109" y="3124"/>
                  <a:pt x="927" y="3216"/>
                  <a:pt x="815" y="3371"/>
                </a:cubicBezTo>
                <a:cubicBezTo>
                  <a:pt x="620" y="3639"/>
                  <a:pt x="680" y="4015"/>
                  <a:pt x="948" y="4209"/>
                </a:cubicBezTo>
                <a:cubicBezTo>
                  <a:pt x="1051" y="4284"/>
                  <a:pt x="1173" y="4324"/>
                  <a:pt x="1300" y="4324"/>
                </a:cubicBezTo>
                <a:cubicBezTo>
                  <a:pt x="1492" y="4324"/>
                  <a:pt x="1673" y="4232"/>
                  <a:pt x="1786" y="4077"/>
                </a:cubicBezTo>
                <a:cubicBezTo>
                  <a:pt x="1939" y="3866"/>
                  <a:pt x="1934" y="3588"/>
                  <a:pt x="1795" y="3384"/>
                </a:cubicBezTo>
                <a:lnTo>
                  <a:pt x="1981" y="3127"/>
                </a:lnTo>
                <a:cubicBezTo>
                  <a:pt x="2084" y="3170"/>
                  <a:pt x="2197" y="3194"/>
                  <a:pt x="2315" y="3194"/>
                </a:cubicBezTo>
                <a:cubicBezTo>
                  <a:pt x="2433" y="3194"/>
                  <a:pt x="2545" y="3170"/>
                  <a:pt x="2647" y="3127"/>
                </a:cubicBezTo>
                <a:lnTo>
                  <a:pt x="2836" y="3385"/>
                </a:lnTo>
                <a:cubicBezTo>
                  <a:pt x="2696" y="3588"/>
                  <a:pt x="2692" y="3866"/>
                  <a:pt x="2845" y="4077"/>
                </a:cubicBezTo>
                <a:cubicBezTo>
                  <a:pt x="2957" y="4232"/>
                  <a:pt x="3139" y="4324"/>
                  <a:pt x="3331" y="4324"/>
                </a:cubicBezTo>
                <a:lnTo>
                  <a:pt x="3331" y="4324"/>
                </a:lnTo>
                <a:cubicBezTo>
                  <a:pt x="3458" y="4324"/>
                  <a:pt x="3580" y="4284"/>
                  <a:pt x="3683" y="4209"/>
                </a:cubicBezTo>
                <a:cubicBezTo>
                  <a:pt x="3951" y="4015"/>
                  <a:pt x="4010" y="3639"/>
                  <a:pt x="3816" y="3371"/>
                </a:cubicBezTo>
                <a:cubicBezTo>
                  <a:pt x="3703" y="3216"/>
                  <a:pt x="3522" y="3124"/>
                  <a:pt x="3330" y="3124"/>
                </a:cubicBezTo>
                <a:cubicBezTo>
                  <a:pt x="3271" y="3124"/>
                  <a:pt x="3214" y="3133"/>
                  <a:pt x="3159" y="3149"/>
                </a:cubicBezTo>
                <a:lnTo>
                  <a:pt x="2971" y="2893"/>
                </a:lnTo>
                <a:cubicBezTo>
                  <a:pt x="3102" y="2741"/>
                  <a:pt x="3182" y="2543"/>
                  <a:pt x="3182" y="2327"/>
                </a:cubicBezTo>
                <a:cubicBezTo>
                  <a:pt x="3182" y="2303"/>
                  <a:pt x="3181" y="2280"/>
                  <a:pt x="3179" y="2257"/>
                </a:cubicBezTo>
                <a:lnTo>
                  <a:pt x="3481" y="2159"/>
                </a:lnTo>
                <a:cubicBezTo>
                  <a:pt x="3592" y="2304"/>
                  <a:pt x="3766" y="2394"/>
                  <a:pt x="3957" y="2394"/>
                </a:cubicBezTo>
                <a:lnTo>
                  <a:pt x="3957" y="2394"/>
                </a:lnTo>
                <a:cubicBezTo>
                  <a:pt x="4020" y="2394"/>
                  <a:pt x="4083" y="2384"/>
                  <a:pt x="4143" y="2364"/>
                </a:cubicBezTo>
                <a:cubicBezTo>
                  <a:pt x="4458" y="2262"/>
                  <a:pt x="4630" y="1923"/>
                  <a:pt x="4528" y="1608"/>
                </a:cubicBezTo>
                <a:cubicBezTo>
                  <a:pt x="4447" y="1360"/>
                  <a:pt x="4218" y="1193"/>
                  <a:pt x="3958" y="119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微软雅黑" panose="020B0503020204020204" pitchFamily="34" charset="-122"/>
            </a:endParaRPr>
          </a:p>
        </p:txBody>
      </p:sp>
      <p:sp>
        <p:nvSpPr>
          <p:cNvPr id="36" name="íşḷïḍé"/>
          <p:cNvSpPr/>
          <p:nvPr/>
        </p:nvSpPr>
        <p:spPr>
          <a:xfrm flipH="1">
            <a:off x="9233418" y="2489949"/>
            <a:ext cx="971478" cy="971478"/>
          </a:xfrm>
          <a:prstGeom prst="ellipse">
            <a:avLst/>
          </a:prstGeom>
          <a:solidFill>
            <a:schemeClr val="bg1"/>
          </a:solidFill>
          <a:ln w="38100" cap="flat" cmpd="sng" algn="ctr">
            <a:solidFill>
              <a:schemeClr val="tx2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 lang="zh-CN" altLang="en-US" kern="0">
              <a:solidFill>
                <a:prstClr val="white"/>
              </a:solidFill>
              <a:ea typeface="微软雅黑" panose="020B0503020204020204" pitchFamily="34" charset="-122"/>
            </a:endParaRPr>
          </a:p>
        </p:txBody>
      </p:sp>
      <p:sp>
        <p:nvSpPr>
          <p:cNvPr id="37" name="ï$ḻiḍe" title="S8je3JnNJtZFZzf"/>
          <p:cNvSpPr/>
          <p:nvPr/>
        </p:nvSpPr>
        <p:spPr bwMode="auto">
          <a:xfrm>
            <a:off x="9442433" y="2710933"/>
            <a:ext cx="553449" cy="529508"/>
          </a:xfrm>
          <a:custGeom>
            <a:avLst/>
            <a:gdLst>
              <a:gd name="T0" fmla="*/ 6281 w 6554"/>
              <a:gd name="T1" fmla="*/ 4642 h 6280"/>
              <a:gd name="T2" fmla="*/ 6554 w 6554"/>
              <a:gd name="T3" fmla="*/ 4369 h 6280"/>
              <a:gd name="T4" fmla="*/ 6554 w 6554"/>
              <a:gd name="T5" fmla="*/ 1365 h 6280"/>
              <a:gd name="T6" fmla="*/ 6281 w 6554"/>
              <a:gd name="T7" fmla="*/ 1092 h 6280"/>
              <a:gd name="T8" fmla="*/ 1365 w 6554"/>
              <a:gd name="T9" fmla="*/ 1092 h 6280"/>
              <a:gd name="T10" fmla="*/ 1365 w 6554"/>
              <a:gd name="T11" fmla="*/ 273 h 6280"/>
              <a:gd name="T12" fmla="*/ 1092 w 6554"/>
              <a:gd name="T13" fmla="*/ 0 h 6280"/>
              <a:gd name="T14" fmla="*/ 273 w 6554"/>
              <a:gd name="T15" fmla="*/ 0 h 6280"/>
              <a:gd name="T16" fmla="*/ 0 w 6554"/>
              <a:gd name="T17" fmla="*/ 273 h 6280"/>
              <a:gd name="T18" fmla="*/ 273 w 6554"/>
              <a:gd name="T19" fmla="*/ 546 h 6280"/>
              <a:gd name="T20" fmla="*/ 819 w 6554"/>
              <a:gd name="T21" fmla="*/ 546 h 6280"/>
              <a:gd name="T22" fmla="*/ 819 w 6554"/>
              <a:gd name="T23" fmla="*/ 1365 h 6280"/>
              <a:gd name="T24" fmla="*/ 819 w 6554"/>
              <a:gd name="T25" fmla="*/ 1638 h 6280"/>
              <a:gd name="T26" fmla="*/ 819 w 6554"/>
              <a:gd name="T27" fmla="*/ 4369 h 6280"/>
              <a:gd name="T28" fmla="*/ 819 w 6554"/>
              <a:gd name="T29" fmla="*/ 5734 h 6280"/>
              <a:gd name="T30" fmla="*/ 1092 w 6554"/>
              <a:gd name="T31" fmla="*/ 6007 h 6280"/>
              <a:gd name="T32" fmla="*/ 2260 w 6554"/>
              <a:gd name="T33" fmla="*/ 6007 h 6280"/>
              <a:gd name="T34" fmla="*/ 2731 w 6554"/>
              <a:gd name="T35" fmla="*/ 6280 h 6280"/>
              <a:gd name="T36" fmla="*/ 3201 w 6554"/>
              <a:gd name="T37" fmla="*/ 6007 h 6280"/>
              <a:gd name="T38" fmla="*/ 5537 w 6554"/>
              <a:gd name="T39" fmla="*/ 6007 h 6280"/>
              <a:gd name="T40" fmla="*/ 6007 w 6554"/>
              <a:gd name="T41" fmla="*/ 6280 h 6280"/>
              <a:gd name="T42" fmla="*/ 6554 w 6554"/>
              <a:gd name="T43" fmla="*/ 5734 h 6280"/>
              <a:gd name="T44" fmla="*/ 6007 w 6554"/>
              <a:gd name="T45" fmla="*/ 5188 h 6280"/>
              <a:gd name="T46" fmla="*/ 5537 w 6554"/>
              <a:gd name="T47" fmla="*/ 5461 h 6280"/>
              <a:gd name="T48" fmla="*/ 3201 w 6554"/>
              <a:gd name="T49" fmla="*/ 5461 h 6280"/>
              <a:gd name="T50" fmla="*/ 2731 w 6554"/>
              <a:gd name="T51" fmla="*/ 5188 h 6280"/>
              <a:gd name="T52" fmla="*/ 2260 w 6554"/>
              <a:gd name="T53" fmla="*/ 5461 h 6280"/>
              <a:gd name="T54" fmla="*/ 1365 w 6554"/>
              <a:gd name="T55" fmla="*/ 5461 h 6280"/>
              <a:gd name="T56" fmla="*/ 1365 w 6554"/>
              <a:gd name="T57" fmla="*/ 4642 h 6280"/>
              <a:gd name="T58" fmla="*/ 6281 w 6554"/>
              <a:gd name="T59" fmla="*/ 4642 h 6280"/>
              <a:gd name="T60" fmla="*/ 2811 w 6554"/>
              <a:gd name="T61" fmla="*/ 2537 h 6280"/>
              <a:gd name="T62" fmla="*/ 3630 w 6554"/>
              <a:gd name="T63" fmla="*/ 1718 h 6280"/>
              <a:gd name="T64" fmla="*/ 3719 w 6554"/>
              <a:gd name="T65" fmla="*/ 1659 h 6280"/>
              <a:gd name="T66" fmla="*/ 3927 w 6554"/>
              <a:gd name="T67" fmla="*/ 1659 h 6280"/>
              <a:gd name="T68" fmla="*/ 4016 w 6554"/>
              <a:gd name="T69" fmla="*/ 1718 h 6280"/>
              <a:gd name="T70" fmla="*/ 4835 w 6554"/>
              <a:gd name="T71" fmla="*/ 2537 h 6280"/>
              <a:gd name="T72" fmla="*/ 4835 w 6554"/>
              <a:gd name="T73" fmla="*/ 2923 h 6280"/>
              <a:gd name="T74" fmla="*/ 4642 w 6554"/>
              <a:gd name="T75" fmla="*/ 3003 h 6280"/>
              <a:gd name="T76" fmla="*/ 4449 w 6554"/>
              <a:gd name="T77" fmla="*/ 2923 h 6280"/>
              <a:gd name="T78" fmla="*/ 4096 w 6554"/>
              <a:gd name="T79" fmla="*/ 2570 h 6280"/>
              <a:gd name="T80" fmla="*/ 4096 w 6554"/>
              <a:gd name="T81" fmla="*/ 3822 h 6280"/>
              <a:gd name="T82" fmla="*/ 3823 w 6554"/>
              <a:gd name="T83" fmla="*/ 4096 h 6280"/>
              <a:gd name="T84" fmla="*/ 3550 w 6554"/>
              <a:gd name="T85" fmla="*/ 3822 h 6280"/>
              <a:gd name="T86" fmla="*/ 3550 w 6554"/>
              <a:gd name="T87" fmla="*/ 2570 h 6280"/>
              <a:gd name="T88" fmla="*/ 3197 w 6554"/>
              <a:gd name="T89" fmla="*/ 2923 h 6280"/>
              <a:gd name="T90" fmla="*/ 3004 w 6554"/>
              <a:gd name="T91" fmla="*/ 3003 h 6280"/>
              <a:gd name="T92" fmla="*/ 2811 w 6554"/>
              <a:gd name="T93" fmla="*/ 2923 h 6280"/>
              <a:gd name="T94" fmla="*/ 2811 w 6554"/>
              <a:gd name="T95" fmla="*/ 2537 h 62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6554" h="6280">
                <a:moveTo>
                  <a:pt x="6281" y="4642"/>
                </a:moveTo>
                <a:cubicBezTo>
                  <a:pt x="6431" y="4642"/>
                  <a:pt x="6554" y="4520"/>
                  <a:pt x="6554" y="4369"/>
                </a:cubicBezTo>
                <a:lnTo>
                  <a:pt x="6554" y="1365"/>
                </a:lnTo>
                <a:cubicBezTo>
                  <a:pt x="6554" y="1214"/>
                  <a:pt x="6431" y="1092"/>
                  <a:pt x="6281" y="1092"/>
                </a:cubicBezTo>
                <a:lnTo>
                  <a:pt x="1365" y="1092"/>
                </a:lnTo>
                <a:lnTo>
                  <a:pt x="1365" y="273"/>
                </a:lnTo>
                <a:cubicBezTo>
                  <a:pt x="1365" y="122"/>
                  <a:pt x="1243" y="0"/>
                  <a:pt x="1092" y="0"/>
                </a:cubicBezTo>
                <a:lnTo>
                  <a:pt x="273" y="0"/>
                </a:lnTo>
                <a:cubicBezTo>
                  <a:pt x="122" y="0"/>
                  <a:pt x="0" y="122"/>
                  <a:pt x="0" y="273"/>
                </a:cubicBezTo>
                <a:cubicBezTo>
                  <a:pt x="0" y="424"/>
                  <a:pt x="122" y="546"/>
                  <a:pt x="273" y="546"/>
                </a:cubicBezTo>
                <a:lnTo>
                  <a:pt x="819" y="546"/>
                </a:lnTo>
                <a:lnTo>
                  <a:pt x="819" y="1365"/>
                </a:lnTo>
                <a:lnTo>
                  <a:pt x="819" y="1638"/>
                </a:lnTo>
                <a:lnTo>
                  <a:pt x="819" y="4369"/>
                </a:lnTo>
                <a:lnTo>
                  <a:pt x="819" y="5734"/>
                </a:lnTo>
                <a:cubicBezTo>
                  <a:pt x="819" y="5885"/>
                  <a:pt x="942" y="6007"/>
                  <a:pt x="1092" y="6007"/>
                </a:cubicBezTo>
                <a:lnTo>
                  <a:pt x="2260" y="6007"/>
                </a:lnTo>
                <a:cubicBezTo>
                  <a:pt x="2355" y="6169"/>
                  <a:pt x="2529" y="6280"/>
                  <a:pt x="2731" y="6280"/>
                </a:cubicBezTo>
                <a:cubicBezTo>
                  <a:pt x="2932" y="6280"/>
                  <a:pt x="3106" y="6169"/>
                  <a:pt x="3201" y="6007"/>
                </a:cubicBezTo>
                <a:lnTo>
                  <a:pt x="5537" y="6007"/>
                </a:lnTo>
                <a:cubicBezTo>
                  <a:pt x="5632" y="6169"/>
                  <a:pt x="5806" y="6280"/>
                  <a:pt x="6007" y="6280"/>
                </a:cubicBezTo>
                <a:cubicBezTo>
                  <a:pt x="6309" y="6280"/>
                  <a:pt x="6554" y="6036"/>
                  <a:pt x="6554" y="5734"/>
                </a:cubicBezTo>
                <a:cubicBezTo>
                  <a:pt x="6554" y="5432"/>
                  <a:pt x="6309" y="5188"/>
                  <a:pt x="6007" y="5188"/>
                </a:cubicBezTo>
                <a:cubicBezTo>
                  <a:pt x="5806" y="5188"/>
                  <a:pt x="5632" y="5298"/>
                  <a:pt x="5537" y="5461"/>
                </a:cubicBezTo>
                <a:lnTo>
                  <a:pt x="3201" y="5461"/>
                </a:lnTo>
                <a:cubicBezTo>
                  <a:pt x="3106" y="5298"/>
                  <a:pt x="2932" y="5188"/>
                  <a:pt x="2731" y="5188"/>
                </a:cubicBezTo>
                <a:cubicBezTo>
                  <a:pt x="2529" y="5188"/>
                  <a:pt x="2355" y="5298"/>
                  <a:pt x="2260" y="5461"/>
                </a:cubicBezTo>
                <a:lnTo>
                  <a:pt x="1365" y="5461"/>
                </a:lnTo>
                <a:lnTo>
                  <a:pt x="1365" y="4642"/>
                </a:lnTo>
                <a:lnTo>
                  <a:pt x="6281" y="4642"/>
                </a:lnTo>
                <a:close/>
                <a:moveTo>
                  <a:pt x="2811" y="2537"/>
                </a:moveTo>
                <a:lnTo>
                  <a:pt x="3630" y="1718"/>
                </a:lnTo>
                <a:cubicBezTo>
                  <a:pt x="3655" y="1693"/>
                  <a:pt x="3685" y="1673"/>
                  <a:pt x="3719" y="1659"/>
                </a:cubicBezTo>
                <a:cubicBezTo>
                  <a:pt x="3785" y="1631"/>
                  <a:pt x="3861" y="1631"/>
                  <a:pt x="3927" y="1659"/>
                </a:cubicBezTo>
                <a:cubicBezTo>
                  <a:pt x="3961" y="1673"/>
                  <a:pt x="3991" y="1693"/>
                  <a:pt x="4016" y="1718"/>
                </a:cubicBezTo>
                <a:lnTo>
                  <a:pt x="4835" y="2537"/>
                </a:lnTo>
                <a:cubicBezTo>
                  <a:pt x="4942" y="2644"/>
                  <a:pt x="4942" y="2816"/>
                  <a:pt x="4835" y="2923"/>
                </a:cubicBezTo>
                <a:cubicBezTo>
                  <a:pt x="4782" y="2977"/>
                  <a:pt x="4712" y="3003"/>
                  <a:pt x="4642" y="3003"/>
                </a:cubicBezTo>
                <a:cubicBezTo>
                  <a:pt x="4572" y="3003"/>
                  <a:pt x="4502" y="2977"/>
                  <a:pt x="4449" y="2923"/>
                </a:cubicBezTo>
                <a:lnTo>
                  <a:pt x="4096" y="2570"/>
                </a:lnTo>
                <a:lnTo>
                  <a:pt x="4096" y="3822"/>
                </a:lnTo>
                <a:cubicBezTo>
                  <a:pt x="4096" y="3973"/>
                  <a:pt x="3974" y="4096"/>
                  <a:pt x="3823" y="4096"/>
                </a:cubicBezTo>
                <a:cubicBezTo>
                  <a:pt x="3672" y="4096"/>
                  <a:pt x="3550" y="3973"/>
                  <a:pt x="3550" y="3822"/>
                </a:cubicBezTo>
                <a:lnTo>
                  <a:pt x="3550" y="2570"/>
                </a:lnTo>
                <a:lnTo>
                  <a:pt x="3197" y="2923"/>
                </a:lnTo>
                <a:cubicBezTo>
                  <a:pt x="3144" y="2977"/>
                  <a:pt x="3074" y="3003"/>
                  <a:pt x="3004" y="3003"/>
                </a:cubicBezTo>
                <a:cubicBezTo>
                  <a:pt x="2934" y="3003"/>
                  <a:pt x="2864" y="2977"/>
                  <a:pt x="2811" y="2923"/>
                </a:cubicBezTo>
                <a:cubicBezTo>
                  <a:pt x="2704" y="2816"/>
                  <a:pt x="2704" y="2644"/>
                  <a:pt x="2811" y="253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微软雅黑" panose="020B0503020204020204" pitchFamily="34" charset="-122"/>
            </a:endParaRPr>
          </a:p>
        </p:txBody>
      </p:sp>
      <p:sp>
        <p:nvSpPr>
          <p:cNvPr id="9" name="ïṣ1ïdê"/>
          <p:cNvSpPr txBox="1"/>
          <p:nvPr/>
        </p:nvSpPr>
        <p:spPr bwMode="auto">
          <a:xfrm>
            <a:off x="809625" y="4249420"/>
            <a:ext cx="2794635" cy="63436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2800" b="1" dirty="0" smtClean="0">
                <a:ea typeface="微软雅黑" panose="020B0503020204020204" pitchFamily="34" charset="-122"/>
              </a:rPr>
              <a:t>1</a:t>
            </a:r>
            <a:r>
              <a:rPr lang="zh-CN" altLang="en-US" sz="2800" b="1" dirty="0" smtClean="0">
                <a:ea typeface="微软雅黑" panose="020B0503020204020204" pitchFamily="34" charset="-122"/>
              </a:rPr>
              <a:t>、测试目的和范围</a:t>
            </a:r>
            <a:endParaRPr lang="zh-CN" altLang="en-US" sz="2800" b="1" dirty="0" smtClean="0">
              <a:ea typeface="微软雅黑" panose="020B0503020204020204" pitchFamily="34" charset="-122"/>
            </a:endParaRPr>
          </a:p>
        </p:txBody>
      </p:sp>
      <p:cxnSp>
        <p:nvCxnSpPr>
          <p:cNvPr id="12" name="直接连接符 11"/>
          <p:cNvCxnSpPr/>
          <p:nvPr/>
        </p:nvCxnSpPr>
        <p:spPr>
          <a:xfrm>
            <a:off x="4290327" y="3233723"/>
            <a:ext cx="0" cy="2909902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ïSlîdé"/>
          <p:cNvSpPr txBox="1"/>
          <p:nvPr/>
        </p:nvSpPr>
        <p:spPr bwMode="auto">
          <a:xfrm>
            <a:off x="4536440" y="4249420"/>
            <a:ext cx="2981960" cy="1084580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2800" b="1" dirty="0" smtClean="0">
                <a:ea typeface="微软雅黑" panose="020B0503020204020204" pitchFamily="34" charset="-122"/>
              </a:rPr>
              <a:t>2</a:t>
            </a:r>
            <a:r>
              <a:rPr lang="zh-CN" altLang="en-US" sz="2800" b="1" dirty="0" smtClean="0">
                <a:ea typeface="微软雅黑" panose="020B0503020204020204" pitchFamily="34" charset="-122"/>
              </a:rPr>
              <a:t>、测试任务分配</a:t>
            </a:r>
            <a:endParaRPr lang="zh-CN" altLang="en-US" sz="2800" b="1" dirty="0" smtClean="0">
              <a:ea typeface="微软雅黑" panose="020B0503020204020204" pitchFamily="34" charset="-122"/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800" b="1" dirty="0" smtClean="0">
                <a:ea typeface="微软雅黑" panose="020B0503020204020204" pitchFamily="34" charset="-122"/>
              </a:rPr>
              <a:t>和进度安排</a:t>
            </a:r>
            <a:endParaRPr lang="zh-CN" altLang="en-US" sz="2800" b="1" dirty="0" smtClean="0">
              <a:ea typeface="微软雅黑" panose="020B0503020204020204" pitchFamily="34" charset="-122"/>
            </a:endParaRPr>
          </a:p>
        </p:txBody>
      </p:sp>
      <p:cxnSp>
        <p:nvCxnSpPr>
          <p:cNvPr id="13" name="直接连接符 12"/>
          <p:cNvCxnSpPr/>
          <p:nvPr/>
        </p:nvCxnSpPr>
        <p:spPr>
          <a:xfrm>
            <a:off x="7900084" y="3233723"/>
            <a:ext cx="0" cy="2909902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ïş1îde"/>
          <p:cNvSpPr txBox="1"/>
          <p:nvPr/>
        </p:nvSpPr>
        <p:spPr bwMode="auto">
          <a:xfrm>
            <a:off x="8728710" y="4249420"/>
            <a:ext cx="2501265" cy="603250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2800" b="1" dirty="0" smtClean="0">
                <a:ea typeface="微软雅黑" panose="020B0503020204020204" pitchFamily="34" charset="-122"/>
              </a:rPr>
              <a:t>3</a:t>
            </a:r>
            <a:r>
              <a:rPr lang="zh-CN" altLang="en-US" sz="2800" b="1" dirty="0" smtClean="0">
                <a:ea typeface="微软雅黑" panose="020B0503020204020204" pitchFamily="34" charset="-122"/>
              </a:rPr>
              <a:t>、测试策略</a:t>
            </a:r>
            <a:endParaRPr lang="zh-CN" altLang="en-US" sz="2800" b="1" dirty="0" smtClean="0"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9" grpId="1"/>
      <p:bldP spid="10" grpId="0"/>
      <p:bldP spid="10" grpId="1"/>
      <p:bldP spid="11" grpId="0"/>
      <p:bldP spid="11" grpId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5" name="文本框 4"/>
          <p:cNvSpPr txBox="1"/>
          <p:nvPr/>
        </p:nvSpPr>
        <p:spPr>
          <a:xfrm>
            <a:off x="223520" y="269240"/>
            <a:ext cx="5288280" cy="1212215"/>
          </a:xfrm>
          <a:prstGeom prst="rect">
            <a:avLst/>
          </a:prstGeom>
          <a:noFill/>
        </p:spPr>
        <p:txBody>
          <a:bodyPr wrap="square" rtlCol="0">
            <a:noAutofit/>
          </a:bodyPr>
          <a:p>
            <a:r>
              <a:rPr lang="zh-CN" altLang="en-US"/>
              <a:t>1.1测试目的</a:t>
            </a:r>
            <a:endParaRPr lang="zh-CN" altLang="en-US"/>
          </a:p>
          <a:p>
            <a:r>
              <a:rPr lang="en-US" altLang="zh-CN"/>
              <a:t>      </a:t>
            </a:r>
            <a:r>
              <a:rPr lang="zh-CN" altLang="en-US"/>
              <a:t>项目首先通过网站上爬取文章和调用api实现阅读理解与答题功能</a:t>
            </a:r>
            <a:endParaRPr lang="zh-CN" altLang="en-US"/>
          </a:p>
        </p:txBody>
      </p:sp>
      <p:sp>
        <p:nvSpPr>
          <p:cNvPr id="7" name="文本框 6"/>
          <p:cNvSpPr txBox="1"/>
          <p:nvPr/>
        </p:nvSpPr>
        <p:spPr>
          <a:xfrm>
            <a:off x="233680" y="1481455"/>
            <a:ext cx="5278755" cy="1330960"/>
          </a:xfrm>
          <a:prstGeom prst="rect">
            <a:avLst/>
          </a:prstGeom>
          <a:noFill/>
        </p:spPr>
        <p:txBody>
          <a:bodyPr wrap="square" rtlCol="0">
            <a:noAutofit/>
          </a:bodyPr>
          <a:p>
            <a:r>
              <a:rPr lang="zh-CN" altLang="en-US"/>
              <a:t>1.2测试范围 </a:t>
            </a:r>
            <a:endParaRPr lang="zh-CN" altLang="en-US"/>
          </a:p>
          <a:p>
            <a:r>
              <a:rPr lang="en-US" altLang="zh-CN"/>
              <a:t>     </a:t>
            </a:r>
            <a:r>
              <a:rPr lang="zh-CN" altLang="en-US"/>
              <a:t>本次测试的主要内容包括以下模块的功能性测试。根据TF文档针对每个功能点进行多用例覆盖测试，并按业务需求将各个功能点组织进行业务流程测试。</a:t>
            </a:r>
            <a:endParaRPr lang="zh-CN" altLang="en-US"/>
          </a:p>
        </p:txBody>
      </p:sp>
      <p:sp>
        <p:nvSpPr>
          <p:cNvPr id="8" name="椭圆 7"/>
          <p:cNvSpPr/>
          <p:nvPr>
            <p:custDataLst>
              <p:tags r:id="rId1"/>
            </p:custDataLst>
          </p:nvPr>
        </p:nvSpPr>
        <p:spPr>
          <a:xfrm>
            <a:off x="3661037" y="4305813"/>
            <a:ext cx="917050" cy="917050"/>
          </a:xfrm>
          <a:prstGeom prst="ellipse">
            <a:avLst/>
          </a:prstGeom>
          <a:solidFill>
            <a:srgbClr val="FFFFFF">
              <a:lumMod val="95000"/>
            </a:srgbClr>
          </a:solidFill>
          <a:ln>
            <a:noFill/>
          </a:ln>
        </p:spPr>
        <p:style>
          <a:lnRef idx="2">
            <a:srgbClr val="4276AA">
              <a:shade val="50000"/>
            </a:srgbClr>
          </a:lnRef>
          <a:fillRef idx="1">
            <a:srgbClr val="4276AA"/>
          </a:fillRef>
          <a:effectRef idx="0">
            <a:srgbClr val="4276AA"/>
          </a:effectRef>
          <a:fontRef idx="minor">
            <a:srgbClr val="FFFFFF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9" name="文本框 8"/>
          <p:cNvSpPr txBox="1"/>
          <p:nvPr>
            <p:custDataLst>
              <p:tags r:id="rId2"/>
            </p:custDataLst>
          </p:nvPr>
        </p:nvSpPr>
        <p:spPr>
          <a:xfrm>
            <a:off x="3493135" y="4476115"/>
            <a:ext cx="1288415" cy="525145"/>
          </a:xfrm>
          <a:prstGeom prst="rect">
            <a:avLst/>
          </a:prstGeom>
          <a:noFill/>
        </p:spPr>
        <p:txBody>
          <a:bodyPr wrap="none" lIns="0" tIns="0" rIns="0" bIns="0" anchor="ctr">
            <a:normAutofit/>
          </a:bodyPr>
          <a:lstStyle/>
          <a:p>
            <a:pPr algn="ctr"/>
            <a:r>
              <a:rPr lang="zh-CN" altLang="en-US" b="1"/>
              <a:t>模块</a:t>
            </a:r>
            <a:endParaRPr lang="zh-CN" altLang="en-US" b="1"/>
          </a:p>
        </p:txBody>
      </p:sp>
      <p:sp>
        <p:nvSpPr>
          <p:cNvPr id="79" name="任意多边形 78"/>
          <p:cNvSpPr/>
          <p:nvPr>
            <p:custDataLst>
              <p:tags r:id="rId3"/>
            </p:custDataLst>
          </p:nvPr>
        </p:nvSpPr>
        <p:spPr>
          <a:xfrm>
            <a:off x="4127427" y="5191904"/>
            <a:ext cx="914247" cy="706079"/>
          </a:xfrm>
          <a:custGeom>
            <a:avLst/>
            <a:gdLst>
              <a:gd name="connsiteX0" fmla="*/ 715758 w 1220395"/>
              <a:gd name="connsiteY0" fmla="*/ 0 h 942519"/>
              <a:gd name="connsiteX1" fmla="*/ 716180 w 1220395"/>
              <a:gd name="connsiteY1" fmla="*/ 85 h 942519"/>
              <a:gd name="connsiteX2" fmla="*/ 690386 w 1220395"/>
              <a:gd name="connsiteY2" fmla="*/ 34915 h 942519"/>
              <a:gd name="connsiteX3" fmla="*/ 716443 w 1220395"/>
              <a:gd name="connsiteY3" fmla="*/ 3334 h 942519"/>
              <a:gd name="connsiteX4" fmla="*/ 749154 w 1220395"/>
              <a:gd name="connsiteY4" fmla="*/ 36 h 942519"/>
              <a:gd name="connsiteX5" fmla="*/ 1220395 w 1220395"/>
              <a:gd name="connsiteY5" fmla="*/ 471278 h 942519"/>
              <a:gd name="connsiteX6" fmla="*/ 749154 w 1220395"/>
              <a:gd name="connsiteY6" fmla="*/ 942519 h 942519"/>
              <a:gd name="connsiteX7" fmla="*/ 277912 w 1220395"/>
              <a:gd name="connsiteY7" fmla="*/ 471278 h 942519"/>
              <a:gd name="connsiteX8" fmla="*/ 287486 w 1220395"/>
              <a:gd name="connsiteY8" fmla="*/ 376306 h 942519"/>
              <a:gd name="connsiteX9" fmla="*/ 307419 w 1220395"/>
              <a:gd name="connsiteY9" fmla="*/ 312092 h 942519"/>
              <a:gd name="connsiteX10" fmla="*/ 219902 w 1220395"/>
              <a:gd name="connsiteY10" fmla="*/ 329013 h 942519"/>
              <a:gd name="connsiteX11" fmla="*/ 115153 w 1220395"/>
              <a:gd name="connsiteY11" fmla="*/ 332975 h 942519"/>
              <a:gd name="connsiteX12" fmla="*/ 111955 w 1220395"/>
              <a:gd name="connsiteY12" fmla="*/ 349963 h 942519"/>
              <a:gd name="connsiteX13" fmla="*/ 0 w 1220395"/>
              <a:gd name="connsiteY13" fmla="*/ 300737 h 942519"/>
              <a:gd name="connsiteX14" fmla="*/ 124838 w 1220395"/>
              <a:gd name="connsiteY14" fmla="*/ 281516 h 942519"/>
              <a:gd name="connsiteX15" fmla="*/ 121643 w 1220395"/>
              <a:gd name="connsiteY15" fmla="*/ 298495 h 942519"/>
              <a:gd name="connsiteX16" fmla="*/ 318849 w 1220395"/>
              <a:gd name="connsiteY16" fmla="*/ 274726 h 942519"/>
              <a:gd name="connsiteX17" fmla="*/ 322843 w 1220395"/>
              <a:gd name="connsiteY17" fmla="*/ 273297 h 942519"/>
              <a:gd name="connsiteX18" fmla="*/ 324305 w 1220395"/>
              <a:gd name="connsiteY18" fmla="*/ 270604 h 942519"/>
              <a:gd name="connsiteX19" fmla="*/ 375007 w 1220395"/>
              <a:gd name="connsiteY19" fmla="*/ 252047 h 942519"/>
              <a:gd name="connsiteX20" fmla="*/ 539075 w 1220395"/>
              <a:gd name="connsiteY20" fmla="*/ 162994 h 942519"/>
              <a:gd name="connsiteX21" fmla="*/ 655461 w 1220395"/>
              <a:gd name="connsiteY21" fmla="*/ 66967 h 942519"/>
              <a:gd name="connsiteX22" fmla="*/ 690938 w 1220395"/>
              <a:gd name="connsiteY22" fmla="*/ 30293 h 942519"/>
              <a:gd name="connsiteX23" fmla="*/ 714643 w 1220395"/>
              <a:gd name="connsiteY23" fmla="*/ 35 h 942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20395" h="942519">
                <a:moveTo>
                  <a:pt x="715758" y="0"/>
                </a:moveTo>
                <a:lnTo>
                  <a:pt x="716180" y="85"/>
                </a:lnTo>
                <a:lnTo>
                  <a:pt x="690386" y="34915"/>
                </a:lnTo>
                <a:lnTo>
                  <a:pt x="716443" y="3334"/>
                </a:lnTo>
                <a:lnTo>
                  <a:pt x="749154" y="36"/>
                </a:lnTo>
                <a:cubicBezTo>
                  <a:pt x="1009413" y="36"/>
                  <a:pt x="1220395" y="211018"/>
                  <a:pt x="1220395" y="471278"/>
                </a:cubicBezTo>
                <a:cubicBezTo>
                  <a:pt x="1220395" y="731537"/>
                  <a:pt x="1009413" y="942519"/>
                  <a:pt x="749154" y="942519"/>
                </a:cubicBezTo>
                <a:cubicBezTo>
                  <a:pt x="488894" y="942519"/>
                  <a:pt x="277912" y="731537"/>
                  <a:pt x="277912" y="471278"/>
                </a:cubicBezTo>
                <a:cubicBezTo>
                  <a:pt x="277912" y="438746"/>
                  <a:pt x="281209" y="406983"/>
                  <a:pt x="287486" y="376306"/>
                </a:cubicBezTo>
                <a:lnTo>
                  <a:pt x="307419" y="312092"/>
                </a:lnTo>
                <a:lnTo>
                  <a:pt x="219902" y="329013"/>
                </a:lnTo>
                <a:cubicBezTo>
                  <a:pt x="185175" y="333018"/>
                  <a:pt x="150180" y="334360"/>
                  <a:pt x="115153" y="332975"/>
                </a:cubicBezTo>
                <a:lnTo>
                  <a:pt x="111955" y="349963"/>
                </a:lnTo>
                <a:lnTo>
                  <a:pt x="0" y="300737"/>
                </a:lnTo>
                <a:lnTo>
                  <a:pt x="124838" y="281516"/>
                </a:lnTo>
                <a:lnTo>
                  <a:pt x="121643" y="298495"/>
                </a:lnTo>
                <a:cubicBezTo>
                  <a:pt x="188130" y="300635"/>
                  <a:pt x="254448" y="292551"/>
                  <a:pt x="318849" y="274726"/>
                </a:cubicBezTo>
                <a:lnTo>
                  <a:pt x="322843" y="273297"/>
                </a:lnTo>
                <a:lnTo>
                  <a:pt x="324305" y="270604"/>
                </a:lnTo>
                <a:lnTo>
                  <a:pt x="375007" y="252047"/>
                </a:lnTo>
                <a:cubicBezTo>
                  <a:pt x="432785" y="227609"/>
                  <a:pt x="487690" y="197709"/>
                  <a:pt x="539075" y="162994"/>
                </a:cubicBezTo>
                <a:lnTo>
                  <a:pt x="655461" y="66967"/>
                </a:lnTo>
                <a:lnTo>
                  <a:pt x="690938" y="30293"/>
                </a:lnTo>
                <a:lnTo>
                  <a:pt x="714643" y="35"/>
                </a:lnTo>
                <a:close/>
              </a:path>
            </a:pathLst>
          </a:custGeom>
          <a:solidFill>
            <a:srgbClr val="40A693"/>
          </a:solidFill>
          <a:ln>
            <a:noFill/>
          </a:ln>
        </p:spPr>
        <p:style>
          <a:lnRef idx="2">
            <a:srgbClr val="4276AA">
              <a:shade val="50000"/>
            </a:srgbClr>
          </a:lnRef>
          <a:fillRef idx="1">
            <a:srgbClr val="4276AA"/>
          </a:fillRef>
          <a:effectRef idx="0">
            <a:srgbClr val="4276AA"/>
          </a:effectRef>
          <a:fontRef idx="minor">
            <a:srgbClr val="FFFFFF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任意多边形 12"/>
          <p:cNvSpPr/>
          <p:nvPr>
            <p:custDataLst>
              <p:tags r:id="rId4"/>
            </p:custDataLst>
          </p:nvPr>
        </p:nvSpPr>
        <p:spPr>
          <a:xfrm rot="2244296">
            <a:off x="3764493" y="3524648"/>
            <a:ext cx="961922" cy="705306"/>
          </a:xfrm>
          <a:custGeom>
            <a:avLst/>
            <a:gdLst>
              <a:gd name="connsiteX0" fmla="*/ 185013 w 1284034"/>
              <a:gd name="connsiteY0" fmla="*/ 96928 h 941487"/>
              <a:gd name="connsiteX1" fmla="*/ 845602 w 1284034"/>
              <a:gd name="connsiteY1" fmla="*/ 185012 h 941487"/>
              <a:gd name="connsiteX2" fmla="*/ 941718 w 1284034"/>
              <a:gd name="connsiteY2" fmla="*/ 443195 h 941487"/>
              <a:gd name="connsiteX3" fmla="*/ 938929 w 1284034"/>
              <a:gd name="connsiteY3" fmla="*/ 518536 h 941487"/>
              <a:gd name="connsiteX4" fmla="*/ 987091 w 1284034"/>
              <a:gd name="connsiteY4" fmla="*/ 506635 h 941487"/>
              <a:gd name="connsiteX5" fmla="*/ 1126598 w 1284034"/>
              <a:gd name="connsiteY5" fmla="*/ 491737 h 941487"/>
              <a:gd name="connsiteX6" fmla="*/ 1128980 w 1284034"/>
              <a:gd name="connsiteY6" fmla="*/ 471475 h 941487"/>
              <a:gd name="connsiteX7" fmla="*/ 1284034 w 1284034"/>
              <a:gd name="connsiteY7" fmla="*/ 518332 h 941487"/>
              <a:gd name="connsiteX8" fmla="*/ 1119385 w 1284034"/>
              <a:gd name="connsiteY8" fmla="*/ 553112 h 941487"/>
              <a:gd name="connsiteX9" fmla="*/ 1121764 w 1284034"/>
              <a:gd name="connsiteY9" fmla="*/ 532861 h 941487"/>
              <a:gd name="connsiteX10" fmla="*/ 860936 w 1284034"/>
              <a:gd name="connsiteY10" fmla="*/ 580060 h 941487"/>
              <a:gd name="connsiteX11" fmla="*/ 754920 w 1284034"/>
              <a:gd name="connsiteY11" fmla="*/ 622436 h 941487"/>
              <a:gd name="connsiteX12" fmla="*/ 713730 w 1284034"/>
              <a:gd name="connsiteY12" fmla="*/ 642896 h 941487"/>
              <a:gd name="connsiteX13" fmla="*/ 653377 w 1284034"/>
              <a:gd name="connsiteY13" fmla="*/ 677015 h 941487"/>
              <a:gd name="connsiteX14" fmla="*/ 573280 w 1284034"/>
              <a:gd name="connsiteY14" fmla="*/ 729725 h 941487"/>
              <a:gd name="connsiteX15" fmla="*/ 476932 w 1284034"/>
              <a:gd name="connsiteY15" fmla="*/ 811185 h 941487"/>
              <a:gd name="connsiteX16" fmla="*/ 470634 w 1284034"/>
              <a:gd name="connsiteY16" fmla="*/ 817951 h 941487"/>
              <a:gd name="connsiteX17" fmla="*/ 406065 w 1284034"/>
              <a:gd name="connsiteY17" fmla="*/ 895955 h 941487"/>
              <a:gd name="connsiteX18" fmla="*/ 382905 w 1284034"/>
              <a:gd name="connsiteY18" fmla="*/ 932319 h 941487"/>
              <a:gd name="connsiteX19" fmla="*/ 371441 w 1284034"/>
              <a:gd name="connsiteY19" fmla="*/ 929657 h 941487"/>
              <a:gd name="connsiteX20" fmla="*/ 362707 w 1284034"/>
              <a:gd name="connsiteY20" fmla="*/ 941337 h 941487"/>
              <a:gd name="connsiteX21" fmla="*/ 361221 w 1284034"/>
              <a:gd name="connsiteY21" fmla="*/ 941487 h 941487"/>
              <a:gd name="connsiteX22" fmla="*/ 360649 w 1284034"/>
              <a:gd name="connsiteY22" fmla="*/ 941429 h 941487"/>
              <a:gd name="connsiteX23" fmla="*/ 369292 w 1284034"/>
              <a:gd name="connsiteY23" fmla="*/ 929159 h 941487"/>
              <a:gd name="connsiteX24" fmla="*/ 320907 w 1284034"/>
              <a:gd name="connsiteY24" fmla="*/ 917926 h 941487"/>
              <a:gd name="connsiteX25" fmla="*/ 96929 w 1284034"/>
              <a:gd name="connsiteY25" fmla="*/ 757518 h 941487"/>
              <a:gd name="connsiteX26" fmla="*/ 185013 w 1284034"/>
              <a:gd name="connsiteY26" fmla="*/ 96928 h 9414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284034" h="941487">
                <a:moveTo>
                  <a:pt x="185013" y="96928"/>
                </a:moveTo>
                <a:cubicBezTo>
                  <a:pt x="391753" y="-61164"/>
                  <a:pt x="687509" y="-21728"/>
                  <a:pt x="845602" y="185012"/>
                </a:cubicBezTo>
                <a:cubicBezTo>
                  <a:pt x="904887" y="262540"/>
                  <a:pt x="936395" y="352586"/>
                  <a:pt x="941718" y="443195"/>
                </a:cubicBezTo>
                <a:lnTo>
                  <a:pt x="938929" y="518536"/>
                </a:lnTo>
                <a:lnTo>
                  <a:pt x="987091" y="506635"/>
                </a:lnTo>
                <a:cubicBezTo>
                  <a:pt x="1033042" y="498535"/>
                  <a:pt x="1079647" y="493536"/>
                  <a:pt x="1126598" y="491737"/>
                </a:cubicBezTo>
                <a:lnTo>
                  <a:pt x="1128980" y="471475"/>
                </a:lnTo>
                <a:lnTo>
                  <a:pt x="1284034" y="518332"/>
                </a:lnTo>
                <a:lnTo>
                  <a:pt x="1119385" y="553112"/>
                </a:lnTo>
                <a:lnTo>
                  <a:pt x="1121764" y="532861"/>
                </a:lnTo>
                <a:cubicBezTo>
                  <a:pt x="1032697" y="536851"/>
                  <a:pt x="944994" y="552830"/>
                  <a:pt x="860936" y="580060"/>
                </a:cubicBezTo>
                <a:lnTo>
                  <a:pt x="754920" y="622436"/>
                </a:lnTo>
                <a:lnTo>
                  <a:pt x="713730" y="642896"/>
                </a:lnTo>
                <a:lnTo>
                  <a:pt x="653377" y="677015"/>
                </a:lnTo>
                <a:lnTo>
                  <a:pt x="573280" y="729725"/>
                </a:lnTo>
                <a:cubicBezTo>
                  <a:pt x="539541" y="754957"/>
                  <a:pt x="507367" y="782168"/>
                  <a:pt x="476932" y="811185"/>
                </a:cubicBezTo>
                <a:lnTo>
                  <a:pt x="470634" y="817951"/>
                </a:lnTo>
                <a:lnTo>
                  <a:pt x="406065" y="895955"/>
                </a:lnTo>
                <a:lnTo>
                  <a:pt x="382905" y="932319"/>
                </a:lnTo>
                <a:lnTo>
                  <a:pt x="371441" y="929657"/>
                </a:lnTo>
                <a:lnTo>
                  <a:pt x="362707" y="941337"/>
                </a:lnTo>
                <a:lnTo>
                  <a:pt x="361221" y="941487"/>
                </a:lnTo>
                <a:lnTo>
                  <a:pt x="360649" y="941429"/>
                </a:lnTo>
                <a:lnTo>
                  <a:pt x="369292" y="929159"/>
                </a:lnTo>
                <a:lnTo>
                  <a:pt x="320907" y="917926"/>
                </a:lnTo>
                <a:cubicBezTo>
                  <a:pt x="234858" y="889047"/>
                  <a:pt x="156214" y="835046"/>
                  <a:pt x="96929" y="757518"/>
                </a:cubicBezTo>
                <a:cubicBezTo>
                  <a:pt x="-61164" y="550778"/>
                  <a:pt x="-21728" y="255022"/>
                  <a:pt x="185013" y="96928"/>
                </a:cubicBezTo>
                <a:close/>
              </a:path>
            </a:pathLst>
          </a:custGeom>
          <a:ln>
            <a:noFill/>
          </a:ln>
        </p:spPr>
        <p:style>
          <a:lnRef idx="2">
            <a:srgbClr val="4276AA">
              <a:shade val="50000"/>
            </a:srgbClr>
          </a:lnRef>
          <a:fillRef idx="1">
            <a:srgbClr val="4276AA"/>
          </a:fillRef>
          <a:effectRef idx="0">
            <a:srgbClr val="4276AA"/>
          </a:effectRef>
          <a:fontRef idx="minor">
            <a:srgbClr val="FFFFFF"/>
          </a:fontRef>
        </p:style>
        <p:txBody>
          <a:bodyPr wrap="square" anchor="ctr">
            <a:noAutofit/>
          </a:bodyPr>
          <a:lstStyle/>
          <a:p>
            <a:pPr algn="ctr"/>
          </a:p>
        </p:txBody>
      </p:sp>
      <p:sp>
        <p:nvSpPr>
          <p:cNvPr id="78" name="任意多边形 77"/>
          <p:cNvSpPr/>
          <p:nvPr>
            <p:custDataLst>
              <p:tags r:id="rId5"/>
            </p:custDataLst>
          </p:nvPr>
        </p:nvSpPr>
        <p:spPr>
          <a:xfrm rot="6497383">
            <a:off x="4547896" y="4262816"/>
            <a:ext cx="925272" cy="696799"/>
          </a:xfrm>
          <a:custGeom>
            <a:avLst/>
            <a:gdLst>
              <a:gd name="connsiteX0" fmla="*/ 23933 w 1235112"/>
              <a:gd name="connsiteY0" fmla="*/ 619254 h 930131"/>
              <a:gd name="connsiteX1" fmla="*/ 323483 w 1235112"/>
              <a:gd name="connsiteY1" fmla="*/ 23933 h 930131"/>
              <a:gd name="connsiteX2" fmla="*/ 918804 w 1235112"/>
              <a:gd name="connsiteY2" fmla="*/ 323482 h 930131"/>
              <a:gd name="connsiteX3" fmla="*/ 941206 w 1235112"/>
              <a:gd name="connsiteY3" fmla="*/ 509266 h 930131"/>
              <a:gd name="connsiteX4" fmla="*/ 929996 w 1235112"/>
              <a:gd name="connsiteY4" fmla="*/ 571551 h 930131"/>
              <a:gd name="connsiteX5" fmla="*/ 965469 w 1235112"/>
              <a:gd name="connsiteY5" fmla="*/ 564088 h 930131"/>
              <a:gd name="connsiteX6" fmla="*/ 1092150 w 1235112"/>
              <a:gd name="connsiteY6" fmla="*/ 552571 h 930131"/>
              <a:gd name="connsiteX7" fmla="*/ 1094313 w 1235112"/>
              <a:gd name="connsiteY7" fmla="*/ 536906 h 930131"/>
              <a:gd name="connsiteX8" fmla="*/ 1235112 w 1235112"/>
              <a:gd name="connsiteY8" fmla="*/ 573131 h 930131"/>
              <a:gd name="connsiteX9" fmla="*/ 1085600 w 1235112"/>
              <a:gd name="connsiteY9" fmla="*/ 600020 h 930131"/>
              <a:gd name="connsiteX10" fmla="*/ 1087761 w 1235112"/>
              <a:gd name="connsiteY10" fmla="*/ 584364 h 930131"/>
              <a:gd name="connsiteX11" fmla="*/ 850912 w 1235112"/>
              <a:gd name="connsiteY11" fmla="*/ 620853 h 930131"/>
              <a:gd name="connsiteX12" fmla="*/ 754643 w 1235112"/>
              <a:gd name="connsiteY12" fmla="*/ 653614 h 930131"/>
              <a:gd name="connsiteX13" fmla="*/ 717240 w 1235112"/>
              <a:gd name="connsiteY13" fmla="*/ 669432 h 930131"/>
              <a:gd name="connsiteX14" fmla="*/ 662436 w 1235112"/>
              <a:gd name="connsiteY14" fmla="*/ 695809 h 930131"/>
              <a:gd name="connsiteX15" fmla="*/ 589702 w 1235112"/>
              <a:gd name="connsiteY15" fmla="*/ 736559 h 930131"/>
              <a:gd name="connsiteX16" fmla="*/ 502212 w 1235112"/>
              <a:gd name="connsiteY16" fmla="*/ 799536 h 930131"/>
              <a:gd name="connsiteX17" fmla="*/ 430019 w 1235112"/>
              <a:gd name="connsiteY17" fmla="*/ 865564 h 930131"/>
              <a:gd name="connsiteX18" fmla="*/ 423356 w 1235112"/>
              <a:gd name="connsiteY18" fmla="*/ 871845 h 930131"/>
              <a:gd name="connsiteX19" fmla="*/ 398489 w 1235112"/>
              <a:gd name="connsiteY19" fmla="*/ 900156 h 930131"/>
              <a:gd name="connsiteX20" fmla="*/ 397395 w 1235112"/>
              <a:gd name="connsiteY20" fmla="*/ 900250 h 930131"/>
              <a:gd name="connsiteX21" fmla="*/ 371936 w 1235112"/>
              <a:gd name="connsiteY21" fmla="*/ 930131 h 930131"/>
              <a:gd name="connsiteX22" fmla="*/ 343833 w 1235112"/>
              <a:gd name="connsiteY22" fmla="*/ 925073 h 930131"/>
              <a:gd name="connsiteX23" fmla="*/ 23933 w 1235112"/>
              <a:gd name="connsiteY23" fmla="*/ 619254 h 9301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35112" h="930131">
                <a:moveTo>
                  <a:pt x="23933" y="619254"/>
                </a:moveTo>
                <a:cubicBezTo>
                  <a:pt x="-57742" y="372142"/>
                  <a:pt x="76371" y="105608"/>
                  <a:pt x="323483" y="23933"/>
                </a:cubicBezTo>
                <a:cubicBezTo>
                  <a:pt x="570594" y="-57742"/>
                  <a:pt x="837129" y="76371"/>
                  <a:pt x="918804" y="323482"/>
                </a:cubicBezTo>
                <a:cubicBezTo>
                  <a:pt x="939223" y="385260"/>
                  <a:pt x="946155" y="448252"/>
                  <a:pt x="941206" y="509266"/>
                </a:cubicBezTo>
                <a:lnTo>
                  <a:pt x="929996" y="571551"/>
                </a:lnTo>
                <a:lnTo>
                  <a:pt x="965469" y="564088"/>
                </a:lnTo>
                <a:cubicBezTo>
                  <a:pt x="1007195" y="557826"/>
                  <a:pt x="1049516" y="553961"/>
                  <a:pt x="1092150" y="552571"/>
                </a:cubicBezTo>
                <a:lnTo>
                  <a:pt x="1094313" y="536906"/>
                </a:lnTo>
                <a:lnTo>
                  <a:pt x="1235112" y="573131"/>
                </a:lnTo>
                <a:lnTo>
                  <a:pt x="1085600" y="600020"/>
                </a:lnTo>
                <a:lnTo>
                  <a:pt x="1087761" y="584364"/>
                </a:lnTo>
                <a:cubicBezTo>
                  <a:pt x="1006882" y="587448"/>
                  <a:pt x="927242" y="599802"/>
                  <a:pt x="850912" y="620853"/>
                </a:cubicBezTo>
                <a:lnTo>
                  <a:pt x="754643" y="653614"/>
                </a:lnTo>
                <a:lnTo>
                  <a:pt x="717240" y="669432"/>
                </a:lnTo>
                <a:lnTo>
                  <a:pt x="662436" y="695809"/>
                </a:lnTo>
                <a:lnTo>
                  <a:pt x="589702" y="736559"/>
                </a:lnTo>
                <a:cubicBezTo>
                  <a:pt x="559065" y="756065"/>
                  <a:pt x="529849" y="777102"/>
                  <a:pt x="502212" y="799536"/>
                </a:cubicBezTo>
                <a:lnTo>
                  <a:pt x="430019" y="865564"/>
                </a:lnTo>
                <a:lnTo>
                  <a:pt x="423356" y="871845"/>
                </a:lnTo>
                <a:lnTo>
                  <a:pt x="398489" y="900156"/>
                </a:lnTo>
                <a:lnTo>
                  <a:pt x="397395" y="900250"/>
                </a:lnTo>
                <a:lnTo>
                  <a:pt x="371936" y="930131"/>
                </a:lnTo>
                <a:lnTo>
                  <a:pt x="343833" y="925073"/>
                </a:lnTo>
                <a:cubicBezTo>
                  <a:pt x="198238" y="884003"/>
                  <a:pt x="74980" y="773698"/>
                  <a:pt x="23933" y="619254"/>
                </a:cubicBezTo>
                <a:close/>
              </a:path>
            </a:pathLst>
          </a:custGeom>
          <a:solidFill>
            <a:srgbClr val="178AA1"/>
          </a:solidFill>
          <a:ln>
            <a:noFill/>
          </a:ln>
        </p:spPr>
        <p:style>
          <a:lnRef idx="2">
            <a:srgbClr val="4276AA">
              <a:shade val="50000"/>
            </a:srgbClr>
          </a:lnRef>
          <a:fillRef idx="1">
            <a:srgbClr val="4276AA"/>
          </a:fillRef>
          <a:effectRef idx="0">
            <a:srgbClr val="4276AA"/>
          </a:effectRef>
          <a:fontRef idx="minor">
            <a:srgbClr val="FFFFFF"/>
          </a:fontRef>
        </p:style>
        <p:txBody>
          <a:bodyPr wrap="square" anchor="ctr">
            <a:noAutofit/>
          </a:bodyPr>
          <a:lstStyle/>
          <a:p>
            <a:pPr algn="ctr"/>
          </a:p>
        </p:txBody>
      </p:sp>
      <p:sp>
        <p:nvSpPr>
          <p:cNvPr id="81" name="任意多边形 80"/>
          <p:cNvSpPr/>
          <p:nvPr>
            <p:custDataLst>
              <p:tags r:id="rId6"/>
            </p:custDataLst>
          </p:nvPr>
        </p:nvSpPr>
        <p:spPr>
          <a:xfrm rot="18987947">
            <a:off x="2846864" y="4070956"/>
            <a:ext cx="945366" cy="701328"/>
          </a:xfrm>
          <a:custGeom>
            <a:avLst/>
            <a:gdLst>
              <a:gd name="connsiteX0" fmla="*/ 1261935 w 1261935"/>
              <a:gd name="connsiteY0" fmla="*/ 513022 h 936177"/>
              <a:gd name="connsiteX1" fmla="*/ 1097286 w 1261935"/>
              <a:gd name="connsiteY1" fmla="*/ 547802 h 936177"/>
              <a:gd name="connsiteX2" fmla="*/ 1099665 w 1261935"/>
              <a:gd name="connsiteY2" fmla="*/ 527551 h 936177"/>
              <a:gd name="connsiteX3" fmla="*/ 967372 w 1261935"/>
              <a:gd name="connsiteY3" fmla="*/ 542435 h 936177"/>
              <a:gd name="connsiteX4" fmla="*/ 920244 w 1261935"/>
              <a:gd name="connsiteY4" fmla="*/ 554284 h 936177"/>
              <a:gd name="connsiteX5" fmla="*/ 801933 w 1261935"/>
              <a:gd name="connsiteY5" fmla="*/ 589501 h 936177"/>
              <a:gd name="connsiteX6" fmla="*/ 798283 w 1261935"/>
              <a:gd name="connsiteY6" fmla="*/ 590960 h 936177"/>
              <a:gd name="connsiteX7" fmla="*/ 672341 w 1261935"/>
              <a:gd name="connsiteY7" fmla="*/ 649583 h 936177"/>
              <a:gd name="connsiteX8" fmla="*/ 443026 w 1261935"/>
              <a:gd name="connsiteY8" fmla="*/ 827898 h 936177"/>
              <a:gd name="connsiteX9" fmla="*/ 378621 w 1261935"/>
              <a:gd name="connsiteY9" fmla="*/ 902927 h 936177"/>
              <a:gd name="connsiteX10" fmla="*/ 361495 w 1261935"/>
              <a:gd name="connsiteY10" fmla="*/ 927514 h 936177"/>
              <a:gd name="connsiteX11" fmla="*/ 349404 w 1261935"/>
              <a:gd name="connsiteY11" fmla="*/ 924265 h 936177"/>
              <a:gd name="connsiteX12" fmla="*/ 340608 w 1261935"/>
              <a:gd name="connsiteY12" fmla="*/ 936027 h 936177"/>
              <a:gd name="connsiteX13" fmla="*/ 339122 w 1261935"/>
              <a:gd name="connsiteY13" fmla="*/ 936177 h 936177"/>
              <a:gd name="connsiteX14" fmla="*/ 338550 w 1261935"/>
              <a:gd name="connsiteY14" fmla="*/ 936119 h 936177"/>
              <a:gd name="connsiteX15" fmla="*/ 347298 w 1261935"/>
              <a:gd name="connsiteY15" fmla="*/ 923699 h 936177"/>
              <a:gd name="connsiteX16" fmla="*/ 305143 w 1261935"/>
              <a:gd name="connsiteY16" fmla="*/ 912371 h 936177"/>
              <a:gd name="connsiteX17" fmla="*/ 146656 w 1261935"/>
              <a:gd name="connsiteY17" fmla="*/ 812874 h 936177"/>
              <a:gd name="connsiteX18" fmla="*/ 129609 w 1261935"/>
              <a:gd name="connsiteY18" fmla="*/ 146656 h 936177"/>
              <a:gd name="connsiteX19" fmla="*/ 795827 w 1261935"/>
              <a:gd name="connsiteY19" fmla="*/ 129609 h 936177"/>
              <a:gd name="connsiteX20" fmla="*/ 941211 w 1261935"/>
              <a:gd name="connsiteY20" fmla="*/ 436602 h 936177"/>
              <a:gd name="connsiteX21" fmla="*/ 937916 w 1261935"/>
              <a:gd name="connsiteY21" fmla="*/ 508016 h 936177"/>
              <a:gd name="connsiteX22" fmla="*/ 964992 w 1261935"/>
              <a:gd name="connsiteY22" fmla="*/ 501325 h 936177"/>
              <a:gd name="connsiteX23" fmla="*/ 1104499 w 1261935"/>
              <a:gd name="connsiteY23" fmla="*/ 486427 h 936177"/>
              <a:gd name="connsiteX24" fmla="*/ 1106881 w 1261935"/>
              <a:gd name="connsiteY24" fmla="*/ 466165 h 9361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261935" h="936177">
                <a:moveTo>
                  <a:pt x="1261935" y="513022"/>
                </a:moveTo>
                <a:lnTo>
                  <a:pt x="1097286" y="547802"/>
                </a:lnTo>
                <a:lnTo>
                  <a:pt x="1099665" y="527551"/>
                </a:lnTo>
                <a:cubicBezTo>
                  <a:pt x="1055131" y="529546"/>
                  <a:pt x="1010939" y="534538"/>
                  <a:pt x="967372" y="542435"/>
                </a:cubicBezTo>
                <a:lnTo>
                  <a:pt x="920244" y="554284"/>
                </a:lnTo>
                <a:lnTo>
                  <a:pt x="801933" y="589501"/>
                </a:lnTo>
                <a:lnTo>
                  <a:pt x="798283" y="590960"/>
                </a:lnTo>
                <a:lnTo>
                  <a:pt x="672341" y="649583"/>
                </a:lnTo>
                <a:cubicBezTo>
                  <a:pt x="589386" y="695923"/>
                  <a:pt x="511919" y="755388"/>
                  <a:pt x="443026" y="827898"/>
                </a:cubicBezTo>
                <a:cubicBezTo>
                  <a:pt x="420062" y="852069"/>
                  <a:pt x="398595" y="877116"/>
                  <a:pt x="378621" y="902927"/>
                </a:cubicBezTo>
                <a:lnTo>
                  <a:pt x="361495" y="927514"/>
                </a:lnTo>
                <a:lnTo>
                  <a:pt x="349404" y="924265"/>
                </a:lnTo>
                <a:lnTo>
                  <a:pt x="340608" y="936027"/>
                </a:lnTo>
                <a:lnTo>
                  <a:pt x="339122" y="936177"/>
                </a:lnTo>
                <a:lnTo>
                  <a:pt x="338550" y="936119"/>
                </a:lnTo>
                <a:lnTo>
                  <a:pt x="347298" y="923699"/>
                </a:lnTo>
                <a:lnTo>
                  <a:pt x="305143" y="912371"/>
                </a:lnTo>
                <a:cubicBezTo>
                  <a:pt x="247844" y="890824"/>
                  <a:pt x="193826" y="857690"/>
                  <a:pt x="146656" y="812874"/>
                </a:cubicBezTo>
                <a:cubicBezTo>
                  <a:pt x="-42022" y="633611"/>
                  <a:pt x="-49655" y="335335"/>
                  <a:pt x="129609" y="146656"/>
                </a:cubicBezTo>
                <a:cubicBezTo>
                  <a:pt x="308872" y="-42022"/>
                  <a:pt x="607148" y="-49655"/>
                  <a:pt x="795827" y="129609"/>
                </a:cubicBezTo>
                <a:cubicBezTo>
                  <a:pt x="884270" y="213639"/>
                  <a:pt x="932931" y="323818"/>
                  <a:pt x="941211" y="436602"/>
                </a:cubicBezTo>
                <a:lnTo>
                  <a:pt x="937916" y="508016"/>
                </a:lnTo>
                <a:lnTo>
                  <a:pt x="964992" y="501325"/>
                </a:lnTo>
                <a:cubicBezTo>
                  <a:pt x="1010943" y="493225"/>
                  <a:pt x="1057548" y="488226"/>
                  <a:pt x="1104499" y="486427"/>
                </a:cubicBezTo>
                <a:lnTo>
                  <a:pt x="1106881" y="466165"/>
                </a:lnTo>
                <a:close/>
              </a:path>
            </a:pathLst>
          </a:custGeom>
          <a:solidFill>
            <a:srgbClr val="5E5CA2"/>
          </a:solidFill>
          <a:ln>
            <a:noFill/>
          </a:ln>
        </p:spPr>
        <p:style>
          <a:lnRef idx="2">
            <a:srgbClr val="4276AA">
              <a:shade val="50000"/>
            </a:srgbClr>
          </a:lnRef>
          <a:fillRef idx="1">
            <a:srgbClr val="4276AA"/>
          </a:fillRef>
          <a:effectRef idx="0">
            <a:srgbClr val="4276AA"/>
          </a:effectRef>
          <a:fontRef idx="minor">
            <a:srgbClr val="FFFFFF"/>
          </a:fontRef>
        </p:style>
        <p:txBody>
          <a:bodyPr wrap="square" anchor="ctr">
            <a:noAutofit/>
          </a:bodyPr>
          <a:lstStyle/>
          <a:p>
            <a:pPr algn="ctr"/>
          </a:p>
        </p:txBody>
      </p:sp>
      <p:sp>
        <p:nvSpPr>
          <p:cNvPr id="80" name="任意多边形 79"/>
          <p:cNvSpPr/>
          <p:nvPr>
            <p:custDataLst>
              <p:tags r:id="rId7"/>
            </p:custDataLst>
          </p:nvPr>
        </p:nvSpPr>
        <p:spPr>
          <a:xfrm rot="15022245">
            <a:off x="3110382" y="5102945"/>
            <a:ext cx="928033" cy="706244"/>
          </a:xfrm>
          <a:custGeom>
            <a:avLst/>
            <a:gdLst>
              <a:gd name="connsiteX0" fmla="*/ 1238798 w 1238798"/>
              <a:gd name="connsiteY0" fmla="*/ 579374 h 942739"/>
              <a:gd name="connsiteX1" fmla="*/ 1101653 w 1238798"/>
              <a:gd name="connsiteY1" fmla="*/ 608344 h 942739"/>
              <a:gd name="connsiteX2" fmla="*/ 1103634 w 1238798"/>
              <a:gd name="connsiteY2" fmla="*/ 591476 h 942739"/>
              <a:gd name="connsiteX3" fmla="*/ 886376 w 1238798"/>
              <a:gd name="connsiteY3" fmla="*/ 630791 h 942739"/>
              <a:gd name="connsiteX4" fmla="*/ 869656 w 1238798"/>
              <a:gd name="connsiteY4" fmla="*/ 637474 h 942739"/>
              <a:gd name="connsiteX5" fmla="*/ 789323 w 1238798"/>
              <a:gd name="connsiteY5" fmla="*/ 681616 h 942739"/>
              <a:gd name="connsiteX6" fmla="*/ 532353 w 1238798"/>
              <a:gd name="connsiteY6" fmla="*/ 918134 h 942739"/>
              <a:gd name="connsiteX7" fmla="*/ 518365 w 1238798"/>
              <a:gd name="connsiteY7" fmla="*/ 938832 h 942739"/>
              <a:gd name="connsiteX8" fmla="*/ 498273 w 1238798"/>
              <a:gd name="connsiteY8" fmla="*/ 941965 h 942739"/>
              <a:gd name="connsiteX9" fmla="*/ 313064 w 1238798"/>
              <a:gd name="connsiteY9" fmla="*/ 915225 h 942739"/>
              <a:gd name="connsiteX10" fmla="*/ 27514 w 1238798"/>
              <a:gd name="connsiteY10" fmla="*/ 313064 h 942739"/>
              <a:gd name="connsiteX11" fmla="*/ 629675 w 1238798"/>
              <a:gd name="connsiteY11" fmla="*/ 27514 h 942739"/>
              <a:gd name="connsiteX12" fmla="*/ 938112 w 1238798"/>
              <a:gd name="connsiteY12" fmla="*/ 537006 h 942739"/>
              <a:gd name="connsiteX13" fmla="*/ 926064 w 1238798"/>
              <a:gd name="connsiteY13" fmla="*/ 585790 h 942739"/>
              <a:gd name="connsiteX14" fmla="*/ 991457 w 1238798"/>
              <a:gd name="connsiteY14" fmla="*/ 569631 h 942739"/>
              <a:gd name="connsiteX15" fmla="*/ 1107661 w 1238798"/>
              <a:gd name="connsiteY15" fmla="*/ 557221 h 942739"/>
              <a:gd name="connsiteX16" fmla="*/ 1109645 w 1238798"/>
              <a:gd name="connsiteY16" fmla="*/ 540344 h 942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238798" h="942739">
                <a:moveTo>
                  <a:pt x="1238798" y="579374"/>
                </a:moveTo>
                <a:lnTo>
                  <a:pt x="1101653" y="608344"/>
                </a:lnTo>
                <a:lnTo>
                  <a:pt x="1103634" y="591476"/>
                </a:lnTo>
                <a:cubicBezTo>
                  <a:pt x="1029445" y="594799"/>
                  <a:pt x="956392" y="608110"/>
                  <a:pt x="886376" y="630791"/>
                </a:cubicBezTo>
                <a:lnTo>
                  <a:pt x="869656" y="637474"/>
                </a:lnTo>
                <a:lnTo>
                  <a:pt x="789323" y="681616"/>
                </a:lnTo>
                <a:cubicBezTo>
                  <a:pt x="691153" y="743458"/>
                  <a:pt x="603679" y="823158"/>
                  <a:pt x="532353" y="918134"/>
                </a:cubicBezTo>
                <a:lnTo>
                  <a:pt x="518365" y="938832"/>
                </a:lnTo>
                <a:lnTo>
                  <a:pt x="498273" y="941965"/>
                </a:lnTo>
                <a:cubicBezTo>
                  <a:pt x="437161" y="945486"/>
                  <a:pt x="374347" y="937083"/>
                  <a:pt x="313064" y="915225"/>
                </a:cubicBezTo>
                <a:cubicBezTo>
                  <a:pt x="67929" y="827796"/>
                  <a:pt x="-59916" y="558199"/>
                  <a:pt x="27514" y="313064"/>
                </a:cubicBezTo>
                <a:cubicBezTo>
                  <a:pt x="114943" y="67929"/>
                  <a:pt x="384540" y="-59916"/>
                  <a:pt x="629675" y="27514"/>
                </a:cubicBezTo>
                <a:cubicBezTo>
                  <a:pt x="844168" y="104015"/>
                  <a:pt x="968861" y="319987"/>
                  <a:pt x="938112" y="537006"/>
                </a:cubicBezTo>
                <a:lnTo>
                  <a:pt x="926064" y="585790"/>
                </a:lnTo>
                <a:lnTo>
                  <a:pt x="991457" y="569631"/>
                </a:lnTo>
                <a:cubicBezTo>
                  <a:pt x="1029733" y="562884"/>
                  <a:pt x="1068553" y="558720"/>
                  <a:pt x="1107661" y="557221"/>
                </a:cubicBezTo>
                <a:lnTo>
                  <a:pt x="1109645" y="540344"/>
                </a:lnTo>
                <a:close/>
              </a:path>
            </a:pathLst>
          </a:custGeom>
          <a:solidFill>
            <a:srgbClr val="5268A5"/>
          </a:solidFill>
          <a:ln>
            <a:noFill/>
          </a:ln>
        </p:spPr>
        <p:style>
          <a:lnRef idx="2">
            <a:srgbClr val="4276AA">
              <a:shade val="50000"/>
            </a:srgbClr>
          </a:lnRef>
          <a:fillRef idx="1">
            <a:srgbClr val="4276AA"/>
          </a:fillRef>
          <a:effectRef idx="0">
            <a:srgbClr val="4276AA"/>
          </a:effectRef>
          <a:fontRef idx="minor">
            <a:srgbClr val="FFFFFF"/>
          </a:fontRef>
        </p:style>
        <p:txBody>
          <a:bodyPr wrap="square" anchor="ctr">
            <a:noAutofit/>
          </a:bodyPr>
          <a:lstStyle/>
          <a:p>
            <a:pPr algn="ctr"/>
          </a:p>
        </p:txBody>
      </p:sp>
      <p:sp>
        <p:nvSpPr>
          <p:cNvPr id="14" name="任意多边形 13"/>
          <p:cNvSpPr/>
          <p:nvPr>
            <p:custDataLst>
              <p:tags r:id="rId8"/>
            </p:custDataLst>
          </p:nvPr>
        </p:nvSpPr>
        <p:spPr bwMode="auto">
          <a:xfrm>
            <a:off x="3986092" y="3606179"/>
            <a:ext cx="287411" cy="276830"/>
          </a:xfrm>
          <a:custGeom>
            <a:avLst/>
            <a:gdLst>
              <a:gd name="T0" fmla="*/ 4096 w 6827"/>
              <a:gd name="T1" fmla="*/ 4551 h 6827"/>
              <a:gd name="T2" fmla="*/ 6258 w 6827"/>
              <a:gd name="T3" fmla="*/ 4096 h 6827"/>
              <a:gd name="T4" fmla="*/ 2348 w 6827"/>
              <a:gd name="T5" fmla="*/ 4911 h 6827"/>
              <a:gd name="T6" fmla="*/ 569 w 6827"/>
              <a:gd name="T7" fmla="*/ 4551 h 6827"/>
              <a:gd name="T8" fmla="*/ 569 w 6827"/>
              <a:gd name="T9" fmla="*/ 3982 h 6827"/>
              <a:gd name="T10" fmla="*/ 1707 w 6827"/>
              <a:gd name="T11" fmla="*/ 2503 h 6827"/>
              <a:gd name="T12" fmla="*/ 3868 w 6827"/>
              <a:gd name="T13" fmla="*/ 2731 h 6827"/>
              <a:gd name="T14" fmla="*/ 5827 w 6827"/>
              <a:gd name="T15" fmla="*/ 2004 h 6827"/>
              <a:gd name="T16" fmla="*/ 6258 w 6827"/>
              <a:gd name="T17" fmla="*/ 1820 h 6827"/>
              <a:gd name="T18" fmla="*/ 4779 w 6827"/>
              <a:gd name="T19" fmla="*/ 0 h 6827"/>
              <a:gd name="T20" fmla="*/ 2854 w 6827"/>
              <a:gd name="T21" fmla="*/ 2381 h 6827"/>
              <a:gd name="T22" fmla="*/ 1239 w 6827"/>
              <a:gd name="T23" fmla="*/ 2257 h 6827"/>
              <a:gd name="T24" fmla="*/ 569 w 6827"/>
              <a:gd name="T25" fmla="*/ 2844 h 6827"/>
              <a:gd name="T26" fmla="*/ 569 w 6827"/>
              <a:gd name="T27" fmla="*/ 2276 h 6827"/>
              <a:gd name="T28" fmla="*/ 569 w 6827"/>
              <a:gd name="T29" fmla="*/ 1707 h 6827"/>
              <a:gd name="T30" fmla="*/ 569 w 6827"/>
              <a:gd name="T31" fmla="*/ 1138 h 6827"/>
              <a:gd name="T32" fmla="*/ 569 w 6827"/>
              <a:gd name="T33" fmla="*/ 569 h 6827"/>
              <a:gd name="T34" fmla="*/ 341 w 6827"/>
              <a:gd name="T35" fmla="*/ 0 h 6827"/>
              <a:gd name="T36" fmla="*/ 114 w 6827"/>
              <a:gd name="T37" fmla="*/ 569 h 6827"/>
              <a:gd name="T38" fmla="*/ 114 w 6827"/>
              <a:gd name="T39" fmla="*/ 1138 h 6827"/>
              <a:gd name="T40" fmla="*/ 114 w 6827"/>
              <a:gd name="T41" fmla="*/ 1707 h 6827"/>
              <a:gd name="T42" fmla="*/ 114 w 6827"/>
              <a:gd name="T43" fmla="*/ 2276 h 6827"/>
              <a:gd name="T44" fmla="*/ 114 w 6827"/>
              <a:gd name="T45" fmla="*/ 2844 h 6827"/>
              <a:gd name="T46" fmla="*/ 114 w 6827"/>
              <a:gd name="T47" fmla="*/ 3413 h 6827"/>
              <a:gd name="T48" fmla="*/ 114 w 6827"/>
              <a:gd name="T49" fmla="*/ 3982 h 6827"/>
              <a:gd name="T50" fmla="*/ 114 w 6827"/>
              <a:gd name="T51" fmla="*/ 4551 h 6827"/>
              <a:gd name="T52" fmla="*/ 114 w 6827"/>
              <a:gd name="T53" fmla="*/ 5120 h 6827"/>
              <a:gd name="T54" fmla="*/ 114 w 6827"/>
              <a:gd name="T55" fmla="*/ 5689 h 6827"/>
              <a:gd name="T56" fmla="*/ 114 w 6827"/>
              <a:gd name="T57" fmla="*/ 6258 h 6827"/>
              <a:gd name="T58" fmla="*/ 683 w 6827"/>
              <a:gd name="T59" fmla="*/ 6713 h 6827"/>
              <a:gd name="T60" fmla="*/ 1252 w 6827"/>
              <a:gd name="T61" fmla="*/ 6713 h 6827"/>
              <a:gd name="T62" fmla="*/ 1820 w 6827"/>
              <a:gd name="T63" fmla="*/ 6713 h 6827"/>
              <a:gd name="T64" fmla="*/ 2389 w 6827"/>
              <a:gd name="T65" fmla="*/ 6713 h 6827"/>
              <a:gd name="T66" fmla="*/ 2958 w 6827"/>
              <a:gd name="T67" fmla="*/ 6713 h 6827"/>
              <a:gd name="T68" fmla="*/ 3527 w 6827"/>
              <a:gd name="T69" fmla="*/ 6713 h 6827"/>
              <a:gd name="T70" fmla="*/ 4096 w 6827"/>
              <a:gd name="T71" fmla="*/ 6713 h 6827"/>
              <a:gd name="T72" fmla="*/ 4665 w 6827"/>
              <a:gd name="T73" fmla="*/ 6713 h 6827"/>
              <a:gd name="T74" fmla="*/ 5234 w 6827"/>
              <a:gd name="T75" fmla="*/ 6713 h 6827"/>
              <a:gd name="T76" fmla="*/ 5803 w 6827"/>
              <a:gd name="T77" fmla="*/ 6713 h 6827"/>
              <a:gd name="T78" fmla="*/ 6371 w 6827"/>
              <a:gd name="T79" fmla="*/ 6713 h 6827"/>
              <a:gd name="T80" fmla="*/ 6827 w 6827"/>
              <a:gd name="T81" fmla="*/ 6485 h 6827"/>
              <a:gd name="T82" fmla="*/ 6371 w 6827"/>
              <a:gd name="T83" fmla="*/ 6258 h 6827"/>
              <a:gd name="T84" fmla="*/ 5803 w 6827"/>
              <a:gd name="T85" fmla="*/ 6258 h 6827"/>
              <a:gd name="T86" fmla="*/ 5234 w 6827"/>
              <a:gd name="T87" fmla="*/ 6258 h 6827"/>
              <a:gd name="T88" fmla="*/ 4665 w 6827"/>
              <a:gd name="T89" fmla="*/ 6258 h 6827"/>
              <a:gd name="T90" fmla="*/ 4096 w 6827"/>
              <a:gd name="T91" fmla="*/ 6258 h 6827"/>
              <a:gd name="T92" fmla="*/ 3527 w 6827"/>
              <a:gd name="T93" fmla="*/ 6258 h 6827"/>
              <a:gd name="T94" fmla="*/ 2958 w 6827"/>
              <a:gd name="T95" fmla="*/ 6258 h 6827"/>
              <a:gd name="T96" fmla="*/ 2389 w 6827"/>
              <a:gd name="T97" fmla="*/ 6258 h 6827"/>
              <a:gd name="T98" fmla="*/ 1820 w 6827"/>
              <a:gd name="T99" fmla="*/ 6258 h 6827"/>
              <a:gd name="T100" fmla="*/ 1252 w 6827"/>
              <a:gd name="T101" fmla="*/ 6258 h 6827"/>
              <a:gd name="T102" fmla="*/ 683 w 6827"/>
              <a:gd name="T103" fmla="*/ 6258 h 68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6827" h="6827">
                <a:moveTo>
                  <a:pt x="1263" y="5234"/>
                </a:moveTo>
                <a:cubicBezTo>
                  <a:pt x="1316" y="5493"/>
                  <a:pt x="1546" y="5689"/>
                  <a:pt x="1820" y="5689"/>
                </a:cubicBezTo>
                <a:cubicBezTo>
                  <a:pt x="2114" y="5689"/>
                  <a:pt x="2354" y="5464"/>
                  <a:pt x="2383" y="5178"/>
                </a:cubicBezTo>
                <a:lnTo>
                  <a:pt x="3568" y="4191"/>
                </a:lnTo>
                <a:cubicBezTo>
                  <a:pt x="3652" y="4401"/>
                  <a:pt x="3856" y="4551"/>
                  <a:pt x="4096" y="4551"/>
                </a:cubicBezTo>
                <a:cubicBezTo>
                  <a:pt x="4348" y="4551"/>
                  <a:pt x="4560" y="4385"/>
                  <a:pt x="4635" y="4157"/>
                </a:cubicBezTo>
                <a:lnTo>
                  <a:pt x="5696" y="4736"/>
                </a:lnTo>
                <a:cubicBezTo>
                  <a:pt x="5732" y="5016"/>
                  <a:pt x="5969" y="5234"/>
                  <a:pt x="6258" y="5234"/>
                </a:cubicBezTo>
                <a:cubicBezTo>
                  <a:pt x="6571" y="5234"/>
                  <a:pt x="6827" y="4979"/>
                  <a:pt x="6827" y="4665"/>
                </a:cubicBezTo>
                <a:cubicBezTo>
                  <a:pt x="6827" y="4351"/>
                  <a:pt x="6571" y="4096"/>
                  <a:pt x="6258" y="4096"/>
                </a:cubicBezTo>
                <a:cubicBezTo>
                  <a:pt x="6006" y="4096"/>
                  <a:pt x="5794" y="4262"/>
                  <a:pt x="5719" y="4490"/>
                </a:cubicBezTo>
                <a:lnTo>
                  <a:pt x="4658" y="3911"/>
                </a:lnTo>
                <a:cubicBezTo>
                  <a:pt x="4622" y="3631"/>
                  <a:pt x="4385" y="3413"/>
                  <a:pt x="4096" y="3413"/>
                </a:cubicBezTo>
                <a:cubicBezTo>
                  <a:pt x="3802" y="3413"/>
                  <a:pt x="3563" y="3638"/>
                  <a:pt x="3533" y="3924"/>
                </a:cubicBezTo>
                <a:lnTo>
                  <a:pt x="2348" y="4911"/>
                </a:lnTo>
                <a:cubicBezTo>
                  <a:pt x="2265" y="4701"/>
                  <a:pt x="2060" y="4551"/>
                  <a:pt x="1820" y="4551"/>
                </a:cubicBezTo>
                <a:cubicBezTo>
                  <a:pt x="1546" y="4551"/>
                  <a:pt x="1316" y="4747"/>
                  <a:pt x="1263" y="5006"/>
                </a:cubicBezTo>
                <a:lnTo>
                  <a:pt x="455" y="5006"/>
                </a:lnTo>
                <a:lnTo>
                  <a:pt x="455" y="4551"/>
                </a:lnTo>
                <a:lnTo>
                  <a:pt x="569" y="4551"/>
                </a:lnTo>
                <a:cubicBezTo>
                  <a:pt x="632" y="4551"/>
                  <a:pt x="683" y="4500"/>
                  <a:pt x="683" y="4437"/>
                </a:cubicBezTo>
                <a:cubicBezTo>
                  <a:pt x="683" y="4374"/>
                  <a:pt x="632" y="4324"/>
                  <a:pt x="569" y="4324"/>
                </a:cubicBezTo>
                <a:lnTo>
                  <a:pt x="455" y="4324"/>
                </a:lnTo>
                <a:lnTo>
                  <a:pt x="455" y="3982"/>
                </a:lnTo>
                <a:lnTo>
                  <a:pt x="569" y="3982"/>
                </a:lnTo>
                <a:cubicBezTo>
                  <a:pt x="632" y="3982"/>
                  <a:pt x="683" y="3931"/>
                  <a:pt x="683" y="3868"/>
                </a:cubicBezTo>
                <a:cubicBezTo>
                  <a:pt x="683" y="3806"/>
                  <a:pt x="632" y="3755"/>
                  <a:pt x="569" y="3755"/>
                </a:cubicBezTo>
                <a:lnTo>
                  <a:pt x="480" y="3755"/>
                </a:lnTo>
                <a:lnTo>
                  <a:pt x="1407" y="2416"/>
                </a:lnTo>
                <a:cubicBezTo>
                  <a:pt x="1494" y="2470"/>
                  <a:pt x="1596" y="2503"/>
                  <a:pt x="1707" y="2503"/>
                </a:cubicBezTo>
                <a:cubicBezTo>
                  <a:pt x="1888" y="2503"/>
                  <a:pt x="2048" y="2416"/>
                  <a:pt x="2152" y="2284"/>
                </a:cubicBezTo>
                <a:lnTo>
                  <a:pt x="2752" y="2584"/>
                </a:lnTo>
                <a:cubicBezTo>
                  <a:pt x="2740" y="2631"/>
                  <a:pt x="2731" y="2680"/>
                  <a:pt x="2731" y="2731"/>
                </a:cubicBezTo>
                <a:cubicBezTo>
                  <a:pt x="2731" y="3044"/>
                  <a:pt x="2986" y="3300"/>
                  <a:pt x="3300" y="3300"/>
                </a:cubicBezTo>
                <a:cubicBezTo>
                  <a:pt x="3613" y="3300"/>
                  <a:pt x="3868" y="3044"/>
                  <a:pt x="3868" y="2731"/>
                </a:cubicBezTo>
                <a:cubicBezTo>
                  <a:pt x="3868" y="2608"/>
                  <a:pt x="3829" y="2496"/>
                  <a:pt x="3763" y="2403"/>
                </a:cubicBezTo>
                <a:lnTo>
                  <a:pt x="4488" y="1055"/>
                </a:lnTo>
                <a:cubicBezTo>
                  <a:pt x="4574" y="1107"/>
                  <a:pt x="4672" y="1138"/>
                  <a:pt x="4779" y="1138"/>
                </a:cubicBezTo>
                <a:cubicBezTo>
                  <a:pt x="4891" y="1138"/>
                  <a:pt x="4995" y="1104"/>
                  <a:pt x="5083" y="1048"/>
                </a:cubicBezTo>
                <a:lnTo>
                  <a:pt x="5827" y="2004"/>
                </a:lnTo>
                <a:cubicBezTo>
                  <a:pt x="5829" y="2007"/>
                  <a:pt x="5833" y="2009"/>
                  <a:pt x="5836" y="2011"/>
                </a:cubicBezTo>
                <a:cubicBezTo>
                  <a:pt x="5745" y="2112"/>
                  <a:pt x="5689" y="2244"/>
                  <a:pt x="5689" y="2389"/>
                </a:cubicBezTo>
                <a:cubicBezTo>
                  <a:pt x="5689" y="2703"/>
                  <a:pt x="5944" y="2958"/>
                  <a:pt x="6258" y="2958"/>
                </a:cubicBezTo>
                <a:cubicBezTo>
                  <a:pt x="6571" y="2958"/>
                  <a:pt x="6827" y="2703"/>
                  <a:pt x="6827" y="2389"/>
                </a:cubicBezTo>
                <a:cubicBezTo>
                  <a:pt x="6827" y="2076"/>
                  <a:pt x="6571" y="1820"/>
                  <a:pt x="6258" y="1820"/>
                </a:cubicBezTo>
                <a:cubicBezTo>
                  <a:pt x="6170" y="1820"/>
                  <a:pt x="6087" y="1842"/>
                  <a:pt x="6013" y="1878"/>
                </a:cubicBezTo>
                <a:cubicBezTo>
                  <a:pt x="6010" y="1874"/>
                  <a:pt x="6010" y="1869"/>
                  <a:pt x="6006" y="1864"/>
                </a:cubicBezTo>
                <a:lnTo>
                  <a:pt x="5248" y="890"/>
                </a:lnTo>
                <a:cubicBezTo>
                  <a:pt x="5311" y="798"/>
                  <a:pt x="5348" y="688"/>
                  <a:pt x="5348" y="569"/>
                </a:cubicBezTo>
                <a:cubicBezTo>
                  <a:pt x="5348" y="255"/>
                  <a:pt x="5092" y="0"/>
                  <a:pt x="4779" y="0"/>
                </a:cubicBezTo>
                <a:cubicBezTo>
                  <a:pt x="4465" y="0"/>
                  <a:pt x="4210" y="255"/>
                  <a:pt x="4210" y="569"/>
                </a:cubicBezTo>
                <a:cubicBezTo>
                  <a:pt x="4210" y="691"/>
                  <a:pt x="4249" y="804"/>
                  <a:pt x="4315" y="897"/>
                </a:cubicBezTo>
                <a:lnTo>
                  <a:pt x="3590" y="2244"/>
                </a:lnTo>
                <a:cubicBezTo>
                  <a:pt x="3505" y="2193"/>
                  <a:pt x="3406" y="2162"/>
                  <a:pt x="3300" y="2162"/>
                </a:cubicBezTo>
                <a:cubicBezTo>
                  <a:pt x="3118" y="2162"/>
                  <a:pt x="2959" y="2248"/>
                  <a:pt x="2854" y="2381"/>
                </a:cubicBezTo>
                <a:lnTo>
                  <a:pt x="2254" y="2081"/>
                </a:lnTo>
                <a:cubicBezTo>
                  <a:pt x="2267" y="2034"/>
                  <a:pt x="2276" y="1985"/>
                  <a:pt x="2276" y="1934"/>
                </a:cubicBezTo>
                <a:cubicBezTo>
                  <a:pt x="2276" y="1621"/>
                  <a:pt x="2020" y="1365"/>
                  <a:pt x="1707" y="1365"/>
                </a:cubicBezTo>
                <a:cubicBezTo>
                  <a:pt x="1393" y="1365"/>
                  <a:pt x="1138" y="1621"/>
                  <a:pt x="1138" y="1934"/>
                </a:cubicBezTo>
                <a:cubicBezTo>
                  <a:pt x="1138" y="2054"/>
                  <a:pt x="1176" y="2166"/>
                  <a:pt x="1239" y="2257"/>
                </a:cubicBezTo>
                <a:lnTo>
                  <a:pt x="593" y="3191"/>
                </a:lnTo>
                <a:cubicBezTo>
                  <a:pt x="585" y="3189"/>
                  <a:pt x="578" y="3186"/>
                  <a:pt x="569" y="3186"/>
                </a:cubicBezTo>
                <a:lnTo>
                  <a:pt x="455" y="3186"/>
                </a:lnTo>
                <a:lnTo>
                  <a:pt x="455" y="2844"/>
                </a:lnTo>
                <a:lnTo>
                  <a:pt x="569" y="2844"/>
                </a:lnTo>
                <a:cubicBezTo>
                  <a:pt x="632" y="2844"/>
                  <a:pt x="683" y="2794"/>
                  <a:pt x="683" y="2731"/>
                </a:cubicBezTo>
                <a:cubicBezTo>
                  <a:pt x="683" y="2668"/>
                  <a:pt x="632" y="2617"/>
                  <a:pt x="569" y="2617"/>
                </a:cubicBezTo>
                <a:lnTo>
                  <a:pt x="455" y="2617"/>
                </a:lnTo>
                <a:lnTo>
                  <a:pt x="455" y="2276"/>
                </a:lnTo>
                <a:lnTo>
                  <a:pt x="569" y="2276"/>
                </a:lnTo>
                <a:cubicBezTo>
                  <a:pt x="632" y="2276"/>
                  <a:pt x="683" y="2225"/>
                  <a:pt x="683" y="2162"/>
                </a:cubicBezTo>
                <a:cubicBezTo>
                  <a:pt x="683" y="2099"/>
                  <a:pt x="632" y="2048"/>
                  <a:pt x="569" y="2048"/>
                </a:cubicBezTo>
                <a:lnTo>
                  <a:pt x="455" y="2048"/>
                </a:lnTo>
                <a:lnTo>
                  <a:pt x="455" y="1707"/>
                </a:lnTo>
                <a:lnTo>
                  <a:pt x="569" y="1707"/>
                </a:lnTo>
                <a:cubicBezTo>
                  <a:pt x="632" y="1707"/>
                  <a:pt x="683" y="1656"/>
                  <a:pt x="683" y="1593"/>
                </a:cubicBezTo>
                <a:cubicBezTo>
                  <a:pt x="683" y="1530"/>
                  <a:pt x="632" y="1479"/>
                  <a:pt x="569" y="1479"/>
                </a:cubicBezTo>
                <a:lnTo>
                  <a:pt x="455" y="1479"/>
                </a:lnTo>
                <a:lnTo>
                  <a:pt x="455" y="1138"/>
                </a:lnTo>
                <a:lnTo>
                  <a:pt x="569" y="1138"/>
                </a:lnTo>
                <a:cubicBezTo>
                  <a:pt x="632" y="1138"/>
                  <a:pt x="683" y="1087"/>
                  <a:pt x="683" y="1024"/>
                </a:cubicBezTo>
                <a:cubicBezTo>
                  <a:pt x="683" y="961"/>
                  <a:pt x="632" y="910"/>
                  <a:pt x="569" y="910"/>
                </a:cubicBezTo>
                <a:lnTo>
                  <a:pt x="455" y="910"/>
                </a:lnTo>
                <a:lnTo>
                  <a:pt x="455" y="569"/>
                </a:lnTo>
                <a:lnTo>
                  <a:pt x="569" y="569"/>
                </a:lnTo>
                <a:cubicBezTo>
                  <a:pt x="632" y="569"/>
                  <a:pt x="683" y="518"/>
                  <a:pt x="683" y="455"/>
                </a:cubicBezTo>
                <a:cubicBezTo>
                  <a:pt x="683" y="392"/>
                  <a:pt x="632" y="341"/>
                  <a:pt x="569" y="341"/>
                </a:cubicBezTo>
                <a:lnTo>
                  <a:pt x="455" y="341"/>
                </a:lnTo>
                <a:lnTo>
                  <a:pt x="455" y="114"/>
                </a:lnTo>
                <a:cubicBezTo>
                  <a:pt x="455" y="51"/>
                  <a:pt x="404" y="0"/>
                  <a:pt x="341" y="0"/>
                </a:cubicBezTo>
                <a:cubicBezTo>
                  <a:pt x="278" y="0"/>
                  <a:pt x="228" y="51"/>
                  <a:pt x="228" y="114"/>
                </a:cubicBezTo>
                <a:lnTo>
                  <a:pt x="228" y="341"/>
                </a:lnTo>
                <a:lnTo>
                  <a:pt x="114" y="341"/>
                </a:lnTo>
                <a:cubicBezTo>
                  <a:pt x="51" y="341"/>
                  <a:pt x="0" y="392"/>
                  <a:pt x="0" y="455"/>
                </a:cubicBezTo>
                <a:cubicBezTo>
                  <a:pt x="0" y="518"/>
                  <a:pt x="51" y="569"/>
                  <a:pt x="114" y="569"/>
                </a:cubicBezTo>
                <a:lnTo>
                  <a:pt x="228" y="569"/>
                </a:lnTo>
                <a:lnTo>
                  <a:pt x="228" y="910"/>
                </a:lnTo>
                <a:lnTo>
                  <a:pt x="114" y="910"/>
                </a:lnTo>
                <a:cubicBezTo>
                  <a:pt x="51" y="910"/>
                  <a:pt x="0" y="961"/>
                  <a:pt x="0" y="1024"/>
                </a:cubicBezTo>
                <a:cubicBezTo>
                  <a:pt x="0" y="1087"/>
                  <a:pt x="51" y="1138"/>
                  <a:pt x="114" y="1138"/>
                </a:cubicBezTo>
                <a:lnTo>
                  <a:pt x="228" y="1138"/>
                </a:lnTo>
                <a:lnTo>
                  <a:pt x="228" y="1479"/>
                </a:lnTo>
                <a:lnTo>
                  <a:pt x="114" y="1479"/>
                </a:lnTo>
                <a:cubicBezTo>
                  <a:pt x="51" y="1479"/>
                  <a:pt x="0" y="1530"/>
                  <a:pt x="0" y="1593"/>
                </a:cubicBezTo>
                <a:cubicBezTo>
                  <a:pt x="0" y="1656"/>
                  <a:pt x="51" y="1707"/>
                  <a:pt x="114" y="1707"/>
                </a:cubicBezTo>
                <a:lnTo>
                  <a:pt x="228" y="1707"/>
                </a:lnTo>
                <a:lnTo>
                  <a:pt x="228" y="2048"/>
                </a:lnTo>
                <a:lnTo>
                  <a:pt x="114" y="2048"/>
                </a:lnTo>
                <a:cubicBezTo>
                  <a:pt x="51" y="2048"/>
                  <a:pt x="0" y="2099"/>
                  <a:pt x="0" y="2162"/>
                </a:cubicBezTo>
                <a:cubicBezTo>
                  <a:pt x="0" y="2225"/>
                  <a:pt x="51" y="2276"/>
                  <a:pt x="114" y="2276"/>
                </a:cubicBezTo>
                <a:lnTo>
                  <a:pt x="228" y="2276"/>
                </a:lnTo>
                <a:lnTo>
                  <a:pt x="228" y="2617"/>
                </a:lnTo>
                <a:lnTo>
                  <a:pt x="114" y="2617"/>
                </a:lnTo>
                <a:cubicBezTo>
                  <a:pt x="51" y="2617"/>
                  <a:pt x="0" y="2668"/>
                  <a:pt x="0" y="2731"/>
                </a:cubicBezTo>
                <a:cubicBezTo>
                  <a:pt x="0" y="2794"/>
                  <a:pt x="51" y="2844"/>
                  <a:pt x="114" y="2844"/>
                </a:cubicBezTo>
                <a:lnTo>
                  <a:pt x="228" y="2844"/>
                </a:lnTo>
                <a:lnTo>
                  <a:pt x="228" y="3186"/>
                </a:lnTo>
                <a:lnTo>
                  <a:pt x="114" y="3186"/>
                </a:lnTo>
                <a:cubicBezTo>
                  <a:pt x="51" y="3186"/>
                  <a:pt x="0" y="3237"/>
                  <a:pt x="0" y="3300"/>
                </a:cubicBezTo>
                <a:cubicBezTo>
                  <a:pt x="0" y="3362"/>
                  <a:pt x="51" y="3413"/>
                  <a:pt x="114" y="3413"/>
                </a:cubicBezTo>
                <a:lnTo>
                  <a:pt x="228" y="3413"/>
                </a:lnTo>
                <a:lnTo>
                  <a:pt x="228" y="3755"/>
                </a:lnTo>
                <a:lnTo>
                  <a:pt x="114" y="3755"/>
                </a:lnTo>
                <a:cubicBezTo>
                  <a:pt x="51" y="3755"/>
                  <a:pt x="0" y="3806"/>
                  <a:pt x="0" y="3868"/>
                </a:cubicBezTo>
                <a:cubicBezTo>
                  <a:pt x="0" y="3931"/>
                  <a:pt x="51" y="3982"/>
                  <a:pt x="114" y="3982"/>
                </a:cubicBezTo>
                <a:lnTo>
                  <a:pt x="228" y="3982"/>
                </a:lnTo>
                <a:lnTo>
                  <a:pt x="228" y="4324"/>
                </a:lnTo>
                <a:lnTo>
                  <a:pt x="114" y="4324"/>
                </a:lnTo>
                <a:cubicBezTo>
                  <a:pt x="51" y="4324"/>
                  <a:pt x="0" y="4374"/>
                  <a:pt x="0" y="4437"/>
                </a:cubicBezTo>
                <a:cubicBezTo>
                  <a:pt x="0" y="4500"/>
                  <a:pt x="51" y="4551"/>
                  <a:pt x="114" y="4551"/>
                </a:cubicBezTo>
                <a:lnTo>
                  <a:pt x="228" y="4551"/>
                </a:lnTo>
                <a:lnTo>
                  <a:pt x="228" y="4892"/>
                </a:lnTo>
                <a:lnTo>
                  <a:pt x="114" y="4892"/>
                </a:lnTo>
                <a:cubicBezTo>
                  <a:pt x="51" y="4892"/>
                  <a:pt x="0" y="4943"/>
                  <a:pt x="0" y="5006"/>
                </a:cubicBezTo>
                <a:cubicBezTo>
                  <a:pt x="0" y="5069"/>
                  <a:pt x="51" y="5120"/>
                  <a:pt x="114" y="5120"/>
                </a:cubicBezTo>
                <a:lnTo>
                  <a:pt x="228" y="5120"/>
                </a:lnTo>
                <a:lnTo>
                  <a:pt x="228" y="5461"/>
                </a:lnTo>
                <a:lnTo>
                  <a:pt x="114" y="5461"/>
                </a:lnTo>
                <a:cubicBezTo>
                  <a:pt x="51" y="5461"/>
                  <a:pt x="0" y="5512"/>
                  <a:pt x="0" y="5575"/>
                </a:cubicBezTo>
                <a:cubicBezTo>
                  <a:pt x="0" y="5638"/>
                  <a:pt x="51" y="5689"/>
                  <a:pt x="114" y="5689"/>
                </a:cubicBezTo>
                <a:lnTo>
                  <a:pt x="228" y="5689"/>
                </a:lnTo>
                <a:lnTo>
                  <a:pt x="228" y="6030"/>
                </a:lnTo>
                <a:lnTo>
                  <a:pt x="114" y="6030"/>
                </a:lnTo>
                <a:cubicBezTo>
                  <a:pt x="51" y="6030"/>
                  <a:pt x="0" y="6081"/>
                  <a:pt x="0" y="6144"/>
                </a:cubicBezTo>
                <a:cubicBezTo>
                  <a:pt x="0" y="6207"/>
                  <a:pt x="51" y="6258"/>
                  <a:pt x="114" y="6258"/>
                </a:cubicBezTo>
                <a:lnTo>
                  <a:pt x="228" y="6258"/>
                </a:lnTo>
                <a:lnTo>
                  <a:pt x="228" y="6485"/>
                </a:lnTo>
                <a:cubicBezTo>
                  <a:pt x="228" y="6548"/>
                  <a:pt x="278" y="6599"/>
                  <a:pt x="341" y="6599"/>
                </a:cubicBezTo>
                <a:lnTo>
                  <a:pt x="683" y="6599"/>
                </a:lnTo>
                <a:lnTo>
                  <a:pt x="683" y="6713"/>
                </a:lnTo>
                <a:cubicBezTo>
                  <a:pt x="683" y="6776"/>
                  <a:pt x="734" y="6827"/>
                  <a:pt x="796" y="6827"/>
                </a:cubicBezTo>
                <a:cubicBezTo>
                  <a:pt x="859" y="6827"/>
                  <a:pt x="910" y="6776"/>
                  <a:pt x="910" y="6713"/>
                </a:cubicBezTo>
                <a:lnTo>
                  <a:pt x="910" y="6599"/>
                </a:lnTo>
                <a:lnTo>
                  <a:pt x="1252" y="6599"/>
                </a:lnTo>
                <a:lnTo>
                  <a:pt x="1252" y="6713"/>
                </a:lnTo>
                <a:cubicBezTo>
                  <a:pt x="1252" y="6776"/>
                  <a:pt x="1302" y="6827"/>
                  <a:pt x="1365" y="6827"/>
                </a:cubicBezTo>
                <a:cubicBezTo>
                  <a:pt x="1428" y="6827"/>
                  <a:pt x="1479" y="6776"/>
                  <a:pt x="1479" y="6713"/>
                </a:cubicBezTo>
                <a:lnTo>
                  <a:pt x="1479" y="6599"/>
                </a:lnTo>
                <a:lnTo>
                  <a:pt x="1820" y="6599"/>
                </a:lnTo>
                <a:lnTo>
                  <a:pt x="1820" y="6713"/>
                </a:lnTo>
                <a:cubicBezTo>
                  <a:pt x="1820" y="6776"/>
                  <a:pt x="1871" y="6827"/>
                  <a:pt x="1934" y="6827"/>
                </a:cubicBezTo>
                <a:cubicBezTo>
                  <a:pt x="1997" y="6827"/>
                  <a:pt x="2048" y="6776"/>
                  <a:pt x="2048" y="6713"/>
                </a:cubicBezTo>
                <a:lnTo>
                  <a:pt x="2048" y="6599"/>
                </a:lnTo>
                <a:lnTo>
                  <a:pt x="2389" y="6599"/>
                </a:lnTo>
                <a:lnTo>
                  <a:pt x="2389" y="6713"/>
                </a:lnTo>
                <a:cubicBezTo>
                  <a:pt x="2389" y="6776"/>
                  <a:pt x="2440" y="6827"/>
                  <a:pt x="2503" y="6827"/>
                </a:cubicBezTo>
                <a:cubicBezTo>
                  <a:pt x="2566" y="6827"/>
                  <a:pt x="2617" y="6776"/>
                  <a:pt x="2617" y="6713"/>
                </a:cubicBezTo>
                <a:lnTo>
                  <a:pt x="2617" y="6599"/>
                </a:lnTo>
                <a:lnTo>
                  <a:pt x="2958" y="6599"/>
                </a:lnTo>
                <a:lnTo>
                  <a:pt x="2958" y="6713"/>
                </a:lnTo>
                <a:cubicBezTo>
                  <a:pt x="2958" y="6776"/>
                  <a:pt x="3009" y="6827"/>
                  <a:pt x="3072" y="6827"/>
                </a:cubicBezTo>
                <a:cubicBezTo>
                  <a:pt x="3135" y="6827"/>
                  <a:pt x="3186" y="6776"/>
                  <a:pt x="3186" y="6713"/>
                </a:cubicBezTo>
                <a:lnTo>
                  <a:pt x="3186" y="6599"/>
                </a:lnTo>
                <a:lnTo>
                  <a:pt x="3527" y="6599"/>
                </a:lnTo>
                <a:lnTo>
                  <a:pt x="3527" y="6713"/>
                </a:lnTo>
                <a:cubicBezTo>
                  <a:pt x="3527" y="6776"/>
                  <a:pt x="3578" y="6827"/>
                  <a:pt x="3641" y="6827"/>
                </a:cubicBezTo>
                <a:cubicBezTo>
                  <a:pt x="3704" y="6827"/>
                  <a:pt x="3755" y="6776"/>
                  <a:pt x="3755" y="6713"/>
                </a:cubicBezTo>
                <a:lnTo>
                  <a:pt x="3755" y="6599"/>
                </a:lnTo>
                <a:lnTo>
                  <a:pt x="4096" y="6599"/>
                </a:lnTo>
                <a:lnTo>
                  <a:pt x="4096" y="6713"/>
                </a:lnTo>
                <a:cubicBezTo>
                  <a:pt x="4096" y="6776"/>
                  <a:pt x="4147" y="6827"/>
                  <a:pt x="4210" y="6827"/>
                </a:cubicBezTo>
                <a:cubicBezTo>
                  <a:pt x="4273" y="6827"/>
                  <a:pt x="4323" y="6776"/>
                  <a:pt x="4323" y="6713"/>
                </a:cubicBezTo>
                <a:lnTo>
                  <a:pt x="4323" y="6599"/>
                </a:lnTo>
                <a:lnTo>
                  <a:pt x="4665" y="6599"/>
                </a:lnTo>
                <a:lnTo>
                  <a:pt x="4665" y="6713"/>
                </a:lnTo>
                <a:cubicBezTo>
                  <a:pt x="4665" y="6776"/>
                  <a:pt x="4716" y="6827"/>
                  <a:pt x="4779" y="6827"/>
                </a:cubicBezTo>
                <a:cubicBezTo>
                  <a:pt x="4842" y="6827"/>
                  <a:pt x="4892" y="6776"/>
                  <a:pt x="4892" y="6713"/>
                </a:cubicBezTo>
                <a:lnTo>
                  <a:pt x="4892" y="6599"/>
                </a:lnTo>
                <a:lnTo>
                  <a:pt x="5234" y="6599"/>
                </a:lnTo>
                <a:lnTo>
                  <a:pt x="5234" y="6713"/>
                </a:lnTo>
                <a:cubicBezTo>
                  <a:pt x="5234" y="6776"/>
                  <a:pt x="5285" y="6827"/>
                  <a:pt x="5347" y="6827"/>
                </a:cubicBezTo>
                <a:cubicBezTo>
                  <a:pt x="5410" y="6827"/>
                  <a:pt x="5461" y="6776"/>
                  <a:pt x="5461" y="6713"/>
                </a:cubicBezTo>
                <a:lnTo>
                  <a:pt x="5461" y="6599"/>
                </a:lnTo>
                <a:lnTo>
                  <a:pt x="5803" y="6599"/>
                </a:lnTo>
                <a:lnTo>
                  <a:pt x="5803" y="6713"/>
                </a:lnTo>
                <a:cubicBezTo>
                  <a:pt x="5803" y="6776"/>
                  <a:pt x="5853" y="6827"/>
                  <a:pt x="5916" y="6827"/>
                </a:cubicBezTo>
                <a:cubicBezTo>
                  <a:pt x="5979" y="6827"/>
                  <a:pt x="6030" y="6776"/>
                  <a:pt x="6030" y="6713"/>
                </a:cubicBezTo>
                <a:lnTo>
                  <a:pt x="6030" y="6599"/>
                </a:lnTo>
                <a:lnTo>
                  <a:pt x="6371" y="6599"/>
                </a:lnTo>
                <a:lnTo>
                  <a:pt x="6371" y="6713"/>
                </a:lnTo>
                <a:cubicBezTo>
                  <a:pt x="6371" y="6776"/>
                  <a:pt x="6422" y="6827"/>
                  <a:pt x="6485" y="6827"/>
                </a:cubicBezTo>
                <a:cubicBezTo>
                  <a:pt x="6548" y="6827"/>
                  <a:pt x="6599" y="6776"/>
                  <a:pt x="6599" y="6713"/>
                </a:cubicBezTo>
                <a:lnTo>
                  <a:pt x="6599" y="6599"/>
                </a:lnTo>
                <a:lnTo>
                  <a:pt x="6713" y="6599"/>
                </a:lnTo>
                <a:cubicBezTo>
                  <a:pt x="6776" y="6599"/>
                  <a:pt x="6827" y="6548"/>
                  <a:pt x="6827" y="6485"/>
                </a:cubicBezTo>
                <a:cubicBezTo>
                  <a:pt x="6827" y="6422"/>
                  <a:pt x="6776" y="6372"/>
                  <a:pt x="6713" y="6372"/>
                </a:cubicBezTo>
                <a:lnTo>
                  <a:pt x="6599" y="6372"/>
                </a:lnTo>
                <a:lnTo>
                  <a:pt x="6599" y="6258"/>
                </a:lnTo>
                <a:cubicBezTo>
                  <a:pt x="6599" y="6195"/>
                  <a:pt x="6548" y="6144"/>
                  <a:pt x="6485" y="6144"/>
                </a:cubicBezTo>
                <a:cubicBezTo>
                  <a:pt x="6422" y="6144"/>
                  <a:pt x="6371" y="6195"/>
                  <a:pt x="6371" y="6258"/>
                </a:cubicBezTo>
                <a:lnTo>
                  <a:pt x="6371" y="6372"/>
                </a:lnTo>
                <a:lnTo>
                  <a:pt x="6030" y="6372"/>
                </a:lnTo>
                <a:lnTo>
                  <a:pt x="6030" y="6258"/>
                </a:lnTo>
                <a:cubicBezTo>
                  <a:pt x="6030" y="6195"/>
                  <a:pt x="5979" y="6144"/>
                  <a:pt x="5916" y="6144"/>
                </a:cubicBezTo>
                <a:cubicBezTo>
                  <a:pt x="5853" y="6144"/>
                  <a:pt x="5803" y="6195"/>
                  <a:pt x="5803" y="6258"/>
                </a:cubicBezTo>
                <a:lnTo>
                  <a:pt x="5803" y="6372"/>
                </a:lnTo>
                <a:lnTo>
                  <a:pt x="5461" y="6372"/>
                </a:lnTo>
                <a:lnTo>
                  <a:pt x="5461" y="6258"/>
                </a:lnTo>
                <a:cubicBezTo>
                  <a:pt x="5461" y="6195"/>
                  <a:pt x="5410" y="6144"/>
                  <a:pt x="5347" y="6144"/>
                </a:cubicBezTo>
                <a:cubicBezTo>
                  <a:pt x="5285" y="6144"/>
                  <a:pt x="5234" y="6195"/>
                  <a:pt x="5234" y="6258"/>
                </a:cubicBezTo>
                <a:lnTo>
                  <a:pt x="5234" y="6372"/>
                </a:lnTo>
                <a:lnTo>
                  <a:pt x="4892" y="6372"/>
                </a:lnTo>
                <a:lnTo>
                  <a:pt x="4892" y="6258"/>
                </a:lnTo>
                <a:cubicBezTo>
                  <a:pt x="4892" y="6195"/>
                  <a:pt x="4842" y="6144"/>
                  <a:pt x="4779" y="6144"/>
                </a:cubicBezTo>
                <a:cubicBezTo>
                  <a:pt x="4716" y="6144"/>
                  <a:pt x="4665" y="6195"/>
                  <a:pt x="4665" y="6258"/>
                </a:cubicBezTo>
                <a:lnTo>
                  <a:pt x="4665" y="6372"/>
                </a:lnTo>
                <a:lnTo>
                  <a:pt x="4323" y="6372"/>
                </a:lnTo>
                <a:lnTo>
                  <a:pt x="4323" y="6258"/>
                </a:lnTo>
                <a:cubicBezTo>
                  <a:pt x="4323" y="6195"/>
                  <a:pt x="4273" y="6144"/>
                  <a:pt x="4210" y="6144"/>
                </a:cubicBezTo>
                <a:cubicBezTo>
                  <a:pt x="4147" y="6144"/>
                  <a:pt x="4096" y="6195"/>
                  <a:pt x="4096" y="6258"/>
                </a:cubicBezTo>
                <a:lnTo>
                  <a:pt x="4096" y="6372"/>
                </a:lnTo>
                <a:lnTo>
                  <a:pt x="3755" y="6372"/>
                </a:lnTo>
                <a:lnTo>
                  <a:pt x="3755" y="6258"/>
                </a:lnTo>
                <a:cubicBezTo>
                  <a:pt x="3755" y="6195"/>
                  <a:pt x="3704" y="6144"/>
                  <a:pt x="3641" y="6144"/>
                </a:cubicBezTo>
                <a:cubicBezTo>
                  <a:pt x="3578" y="6144"/>
                  <a:pt x="3527" y="6195"/>
                  <a:pt x="3527" y="6258"/>
                </a:cubicBezTo>
                <a:lnTo>
                  <a:pt x="3527" y="6372"/>
                </a:lnTo>
                <a:lnTo>
                  <a:pt x="3186" y="6372"/>
                </a:lnTo>
                <a:lnTo>
                  <a:pt x="3186" y="6258"/>
                </a:lnTo>
                <a:cubicBezTo>
                  <a:pt x="3186" y="6195"/>
                  <a:pt x="3135" y="6144"/>
                  <a:pt x="3072" y="6144"/>
                </a:cubicBezTo>
                <a:cubicBezTo>
                  <a:pt x="3009" y="6144"/>
                  <a:pt x="2958" y="6195"/>
                  <a:pt x="2958" y="6258"/>
                </a:cubicBezTo>
                <a:lnTo>
                  <a:pt x="2958" y="6372"/>
                </a:lnTo>
                <a:lnTo>
                  <a:pt x="2617" y="6372"/>
                </a:lnTo>
                <a:lnTo>
                  <a:pt x="2617" y="6258"/>
                </a:lnTo>
                <a:cubicBezTo>
                  <a:pt x="2617" y="6195"/>
                  <a:pt x="2566" y="6144"/>
                  <a:pt x="2503" y="6144"/>
                </a:cubicBezTo>
                <a:cubicBezTo>
                  <a:pt x="2440" y="6144"/>
                  <a:pt x="2389" y="6195"/>
                  <a:pt x="2389" y="6258"/>
                </a:cubicBezTo>
                <a:lnTo>
                  <a:pt x="2389" y="6372"/>
                </a:lnTo>
                <a:lnTo>
                  <a:pt x="2048" y="6372"/>
                </a:lnTo>
                <a:lnTo>
                  <a:pt x="2048" y="6258"/>
                </a:lnTo>
                <a:cubicBezTo>
                  <a:pt x="2048" y="6195"/>
                  <a:pt x="1997" y="6144"/>
                  <a:pt x="1934" y="6144"/>
                </a:cubicBezTo>
                <a:cubicBezTo>
                  <a:pt x="1871" y="6144"/>
                  <a:pt x="1820" y="6195"/>
                  <a:pt x="1820" y="6258"/>
                </a:cubicBezTo>
                <a:lnTo>
                  <a:pt x="1820" y="6372"/>
                </a:lnTo>
                <a:lnTo>
                  <a:pt x="1479" y="6372"/>
                </a:lnTo>
                <a:lnTo>
                  <a:pt x="1479" y="6258"/>
                </a:lnTo>
                <a:cubicBezTo>
                  <a:pt x="1479" y="6195"/>
                  <a:pt x="1428" y="6144"/>
                  <a:pt x="1365" y="6144"/>
                </a:cubicBezTo>
                <a:cubicBezTo>
                  <a:pt x="1302" y="6144"/>
                  <a:pt x="1252" y="6195"/>
                  <a:pt x="1252" y="6258"/>
                </a:cubicBezTo>
                <a:lnTo>
                  <a:pt x="1252" y="6372"/>
                </a:lnTo>
                <a:lnTo>
                  <a:pt x="910" y="6372"/>
                </a:lnTo>
                <a:lnTo>
                  <a:pt x="910" y="6258"/>
                </a:lnTo>
                <a:cubicBezTo>
                  <a:pt x="910" y="6195"/>
                  <a:pt x="859" y="6144"/>
                  <a:pt x="796" y="6144"/>
                </a:cubicBezTo>
                <a:cubicBezTo>
                  <a:pt x="734" y="6144"/>
                  <a:pt x="683" y="6195"/>
                  <a:pt x="683" y="6258"/>
                </a:cubicBezTo>
                <a:lnTo>
                  <a:pt x="683" y="6372"/>
                </a:lnTo>
                <a:lnTo>
                  <a:pt x="455" y="6372"/>
                </a:lnTo>
                <a:lnTo>
                  <a:pt x="455" y="5234"/>
                </a:lnTo>
                <a:lnTo>
                  <a:pt x="1263" y="523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anchor="ctr"/>
          <a:lstStyle/>
          <a:p>
            <a:pPr algn="ctr"/>
          </a:p>
        </p:txBody>
      </p:sp>
      <p:sp>
        <p:nvSpPr>
          <p:cNvPr id="15" name="任意多边形 14"/>
          <p:cNvSpPr/>
          <p:nvPr>
            <p:custDataLst>
              <p:tags r:id="rId9"/>
            </p:custDataLst>
          </p:nvPr>
        </p:nvSpPr>
        <p:spPr bwMode="auto">
          <a:xfrm>
            <a:off x="4938922" y="4355613"/>
            <a:ext cx="287411" cy="276830"/>
          </a:xfrm>
          <a:custGeom>
            <a:avLst/>
            <a:gdLst>
              <a:gd name="connsiteX0" fmla="*/ 297615 w 597921"/>
              <a:gd name="connsiteY0" fmla="*/ 96957 h 598324"/>
              <a:gd name="connsiteX1" fmla="*/ 323434 w 597921"/>
              <a:gd name="connsiteY1" fmla="*/ 122740 h 598324"/>
              <a:gd name="connsiteX2" fmla="*/ 323434 w 597921"/>
              <a:gd name="connsiteY2" fmla="*/ 289852 h 598324"/>
              <a:gd name="connsiteX3" fmla="*/ 462572 w 597921"/>
              <a:gd name="connsiteY3" fmla="*/ 289852 h 598324"/>
              <a:gd name="connsiteX4" fmla="*/ 487913 w 597921"/>
              <a:gd name="connsiteY4" fmla="*/ 315157 h 598324"/>
              <a:gd name="connsiteX5" fmla="*/ 462572 w 597921"/>
              <a:gd name="connsiteY5" fmla="*/ 340463 h 598324"/>
              <a:gd name="connsiteX6" fmla="*/ 297615 w 597921"/>
              <a:gd name="connsiteY6" fmla="*/ 340463 h 598324"/>
              <a:gd name="connsiteX7" fmla="*/ 272274 w 597921"/>
              <a:gd name="connsiteY7" fmla="*/ 315157 h 598324"/>
              <a:gd name="connsiteX8" fmla="*/ 272274 w 597921"/>
              <a:gd name="connsiteY8" fmla="*/ 122740 h 598324"/>
              <a:gd name="connsiteX9" fmla="*/ 297615 w 597921"/>
              <a:gd name="connsiteY9" fmla="*/ 96957 h 598324"/>
              <a:gd name="connsiteX10" fmla="*/ 298127 w 597921"/>
              <a:gd name="connsiteY10" fmla="*/ 0 h 598324"/>
              <a:gd name="connsiteX11" fmla="*/ 597921 w 597921"/>
              <a:gd name="connsiteY11" fmla="*/ 299401 h 598324"/>
              <a:gd name="connsiteX12" fmla="*/ 298127 w 597921"/>
              <a:gd name="connsiteY12" fmla="*/ 598324 h 598324"/>
              <a:gd name="connsiteX13" fmla="*/ 35150 w 597921"/>
              <a:gd name="connsiteY13" fmla="*/ 442177 h 598324"/>
              <a:gd name="connsiteX14" fmla="*/ 34194 w 597921"/>
              <a:gd name="connsiteY14" fmla="*/ 432149 h 598324"/>
              <a:gd name="connsiteX15" fmla="*/ 40410 w 597921"/>
              <a:gd name="connsiteY15" fmla="*/ 424509 h 598324"/>
              <a:gd name="connsiteX16" fmla="*/ 74836 w 597921"/>
              <a:gd name="connsiteY16" fmla="*/ 407796 h 598324"/>
              <a:gd name="connsiteX17" fmla="*/ 91571 w 597921"/>
              <a:gd name="connsiteY17" fmla="*/ 413049 h 598324"/>
              <a:gd name="connsiteX18" fmla="*/ 298127 w 597921"/>
              <a:gd name="connsiteY18" fmla="*/ 534815 h 598324"/>
              <a:gd name="connsiteX19" fmla="*/ 534328 w 597921"/>
              <a:gd name="connsiteY19" fmla="*/ 299401 h 598324"/>
              <a:gd name="connsiteX20" fmla="*/ 298127 w 597921"/>
              <a:gd name="connsiteY20" fmla="*/ 63509 h 598324"/>
              <a:gd name="connsiteX21" fmla="*/ 145123 w 597921"/>
              <a:gd name="connsiteY21" fmla="*/ 120333 h 598324"/>
              <a:gd name="connsiteX22" fmla="*/ 200587 w 597921"/>
              <a:gd name="connsiteY22" fmla="*/ 142299 h 598324"/>
              <a:gd name="connsiteX23" fmla="*/ 208237 w 597921"/>
              <a:gd name="connsiteY23" fmla="*/ 152327 h 598324"/>
              <a:gd name="connsiteX24" fmla="*/ 203456 w 597921"/>
              <a:gd name="connsiteY24" fmla="*/ 164265 h 598324"/>
              <a:gd name="connsiteX25" fmla="*/ 48060 w 597921"/>
              <a:gd name="connsiteY25" fmla="*/ 285553 h 598324"/>
              <a:gd name="connsiteX26" fmla="*/ 35150 w 597921"/>
              <a:gd name="connsiteY26" fmla="*/ 287463 h 598324"/>
              <a:gd name="connsiteX27" fmla="*/ 27500 w 597921"/>
              <a:gd name="connsiteY27" fmla="*/ 277435 h 598324"/>
              <a:gd name="connsiteX28" fmla="*/ 246 w 597921"/>
              <a:gd name="connsiteY28" fmla="*/ 82132 h 598324"/>
              <a:gd name="connsiteX29" fmla="*/ 4550 w 597921"/>
              <a:gd name="connsiteY29" fmla="*/ 70194 h 598324"/>
              <a:gd name="connsiteX30" fmla="*/ 17459 w 597921"/>
              <a:gd name="connsiteY30" fmla="*/ 68762 h 598324"/>
              <a:gd name="connsiteX31" fmla="*/ 80574 w 597921"/>
              <a:gd name="connsiteY31" fmla="*/ 94070 h 598324"/>
              <a:gd name="connsiteX32" fmla="*/ 298127 w 597921"/>
              <a:gd name="connsiteY32" fmla="*/ 0 h 598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597921" h="598324">
                <a:moveTo>
                  <a:pt x="297615" y="96957"/>
                </a:moveTo>
                <a:cubicBezTo>
                  <a:pt x="311959" y="96957"/>
                  <a:pt x="323434" y="108416"/>
                  <a:pt x="323434" y="122740"/>
                </a:cubicBezTo>
                <a:lnTo>
                  <a:pt x="323434" y="289852"/>
                </a:lnTo>
                <a:lnTo>
                  <a:pt x="462572" y="289852"/>
                </a:lnTo>
                <a:cubicBezTo>
                  <a:pt x="476438" y="289852"/>
                  <a:pt x="487913" y="301311"/>
                  <a:pt x="487913" y="315157"/>
                </a:cubicBezTo>
                <a:cubicBezTo>
                  <a:pt x="487913" y="329004"/>
                  <a:pt x="476438" y="340463"/>
                  <a:pt x="462572" y="340463"/>
                </a:cubicBezTo>
                <a:lnTo>
                  <a:pt x="297615" y="340463"/>
                </a:lnTo>
                <a:cubicBezTo>
                  <a:pt x="283749" y="340463"/>
                  <a:pt x="272274" y="329004"/>
                  <a:pt x="272274" y="315157"/>
                </a:cubicBezTo>
                <a:lnTo>
                  <a:pt x="272274" y="122740"/>
                </a:lnTo>
                <a:cubicBezTo>
                  <a:pt x="272274" y="108416"/>
                  <a:pt x="283749" y="96957"/>
                  <a:pt x="297615" y="96957"/>
                </a:cubicBezTo>
                <a:close/>
                <a:moveTo>
                  <a:pt x="298127" y="0"/>
                </a:moveTo>
                <a:cubicBezTo>
                  <a:pt x="463564" y="0"/>
                  <a:pt x="597921" y="134181"/>
                  <a:pt x="597921" y="299401"/>
                </a:cubicBezTo>
                <a:cubicBezTo>
                  <a:pt x="597921" y="464143"/>
                  <a:pt x="463564" y="598324"/>
                  <a:pt x="298127" y="598324"/>
                </a:cubicBezTo>
                <a:cubicBezTo>
                  <a:pt x="188155" y="598324"/>
                  <a:pt x="87268" y="538635"/>
                  <a:pt x="35150" y="442177"/>
                </a:cubicBezTo>
                <a:cubicBezTo>
                  <a:pt x="33238" y="438835"/>
                  <a:pt x="32760" y="435492"/>
                  <a:pt x="34194" y="432149"/>
                </a:cubicBezTo>
                <a:cubicBezTo>
                  <a:pt x="35150" y="428807"/>
                  <a:pt x="37541" y="425942"/>
                  <a:pt x="40410" y="424509"/>
                </a:cubicBezTo>
                <a:lnTo>
                  <a:pt x="74836" y="407796"/>
                </a:lnTo>
                <a:cubicBezTo>
                  <a:pt x="81052" y="404931"/>
                  <a:pt x="88702" y="407319"/>
                  <a:pt x="91571" y="413049"/>
                </a:cubicBezTo>
                <a:cubicBezTo>
                  <a:pt x="133169" y="488018"/>
                  <a:pt x="212540" y="534815"/>
                  <a:pt x="298127" y="534815"/>
                </a:cubicBezTo>
                <a:cubicBezTo>
                  <a:pt x="428181" y="534815"/>
                  <a:pt x="534328" y="429284"/>
                  <a:pt x="534328" y="299401"/>
                </a:cubicBezTo>
                <a:cubicBezTo>
                  <a:pt x="534328" y="169517"/>
                  <a:pt x="428181" y="63509"/>
                  <a:pt x="298127" y="63509"/>
                </a:cubicBezTo>
                <a:cubicBezTo>
                  <a:pt x="242185" y="63509"/>
                  <a:pt x="187677" y="83565"/>
                  <a:pt x="145123" y="120333"/>
                </a:cubicBezTo>
                <a:lnTo>
                  <a:pt x="200587" y="142299"/>
                </a:lnTo>
                <a:cubicBezTo>
                  <a:pt x="204890" y="144209"/>
                  <a:pt x="207759" y="148029"/>
                  <a:pt x="208237" y="152327"/>
                </a:cubicBezTo>
                <a:cubicBezTo>
                  <a:pt x="208715" y="157102"/>
                  <a:pt x="207281" y="161399"/>
                  <a:pt x="203456" y="164265"/>
                </a:cubicBezTo>
                <a:lnTo>
                  <a:pt x="48060" y="285553"/>
                </a:lnTo>
                <a:cubicBezTo>
                  <a:pt x="44235" y="288418"/>
                  <a:pt x="39454" y="289373"/>
                  <a:pt x="35150" y="287463"/>
                </a:cubicBezTo>
                <a:cubicBezTo>
                  <a:pt x="31325" y="285553"/>
                  <a:pt x="27978" y="281733"/>
                  <a:pt x="27500" y="277435"/>
                </a:cubicBezTo>
                <a:lnTo>
                  <a:pt x="246" y="82132"/>
                </a:lnTo>
                <a:cubicBezTo>
                  <a:pt x="-710" y="77835"/>
                  <a:pt x="1203" y="73060"/>
                  <a:pt x="4550" y="70194"/>
                </a:cubicBezTo>
                <a:cubicBezTo>
                  <a:pt x="8375" y="67807"/>
                  <a:pt x="13156" y="66852"/>
                  <a:pt x="17459" y="68762"/>
                </a:cubicBezTo>
                <a:lnTo>
                  <a:pt x="80574" y="94070"/>
                </a:lnTo>
                <a:cubicBezTo>
                  <a:pt x="137472" y="33426"/>
                  <a:pt x="214931" y="0"/>
                  <a:pt x="298127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anchor="ctr"/>
          <a:lstStyle/>
          <a:p>
            <a:pPr algn="ctr"/>
          </a:p>
        </p:txBody>
      </p:sp>
      <p:sp>
        <p:nvSpPr>
          <p:cNvPr id="27" name="任意多边形 26"/>
          <p:cNvSpPr/>
          <p:nvPr>
            <p:custDataLst>
              <p:tags r:id="rId10"/>
            </p:custDataLst>
          </p:nvPr>
        </p:nvSpPr>
        <p:spPr bwMode="auto">
          <a:xfrm>
            <a:off x="4554317" y="5440662"/>
            <a:ext cx="287411" cy="276830"/>
          </a:xfrm>
          <a:custGeom>
            <a:avLst/>
            <a:gdLst>
              <a:gd name="connsiteX0" fmla="*/ 304701 w 609473"/>
              <a:gd name="connsiteY0" fmla="*/ 381618 h 587034"/>
              <a:gd name="connsiteX1" fmla="*/ 325879 w 609473"/>
              <a:gd name="connsiteY1" fmla="*/ 394101 h 587034"/>
              <a:gd name="connsiteX2" fmla="*/ 309542 w 609473"/>
              <a:gd name="connsiteY2" fmla="*/ 410914 h 587034"/>
              <a:gd name="connsiteX3" fmla="*/ 331022 w 609473"/>
              <a:gd name="connsiteY3" fmla="*/ 433867 h 587034"/>
              <a:gd name="connsiteX4" fmla="*/ 312466 w 609473"/>
              <a:gd name="connsiteY4" fmla="*/ 468800 h 587034"/>
              <a:gd name="connsiteX5" fmla="*/ 294112 w 609473"/>
              <a:gd name="connsiteY5" fmla="*/ 468096 h 587034"/>
              <a:gd name="connsiteX6" fmla="*/ 278380 w 609473"/>
              <a:gd name="connsiteY6" fmla="*/ 432055 h 587034"/>
              <a:gd name="connsiteX7" fmla="*/ 299861 w 609473"/>
              <a:gd name="connsiteY7" fmla="*/ 410612 h 587034"/>
              <a:gd name="connsiteX8" fmla="*/ 284028 w 609473"/>
              <a:gd name="connsiteY8" fmla="*/ 393397 h 587034"/>
              <a:gd name="connsiteX9" fmla="*/ 224835 w 609473"/>
              <a:gd name="connsiteY9" fmla="*/ 380559 h 587034"/>
              <a:gd name="connsiteX10" fmla="*/ 283211 w 609473"/>
              <a:gd name="connsiteY10" fmla="*/ 483344 h 587034"/>
              <a:gd name="connsiteX11" fmla="*/ 305190 w 609473"/>
              <a:gd name="connsiteY11" fmla="*/ 499753 h 587034"/>
              <a:gd name="connsiteX12" fmla="*/ 327069 w 609473"/>
              <a:gd name="connsiteY12" fmla="*/ 483646 h 587034"/>
              <a:gd name="connsiteX13" fmla="*/ 387865 w 609473"/>
              <a:gd name="connsiteY13" fmla="*/ 380861 h 587034"/>
              <a:gd name="connsiteX14" fmla="*/ 498972 w 609473"/>
              <a:gd name="connsiteY14" fmla="*/ 386700 h 587034"/>
              <a:gd name="connsiteX15" fmla="*/ 581344 w 609473"/>
              <a:gd name="connsiteY15" fmla="*/ 414485 h 587034"/>
              <a:gd name="connsiteX16" fmla="*/ 609473 w 609473"/>
              <a:gd name="connsiteY16" fmla="*/ 494820 h 587034"/>
              <a:gd name="connsiteX17" fmla="*/ 609473 w 609473"/>
              <a:gd name="connsiteY17" fmla="*/ 529048 h 587034"/>
              <a:gd name="connsiteX18" fmla="*/ 551399 w 609473"/>
              <a:gd name="connsiteY18" fmla="*/ 587034 h 587034"/>
              <a:gd name="connsiteX19" fmla="*/ 58074 w 609473"/>
              <a:gd name="connsiteY19" fmla="*/ 587034 h 587034"/>
              <a:gd name="connsiteX20" fmla="*/ 0 w 609473"/>
              <a:gd name="connsiteY20" fmla="*/ 529048 h 587034"/>
              <a:gd name="connsiteX21" fmla="*/ 0 w 609473"/>
              <a:gd name="connsiteY21" fmla="*/ 494820 h 587034"/>
              <a:gd name="connsiteX22" fmla="*/ 28129 w 609473"/>
              <a:gd name="connsiteY22" fmla="*/ 414485 h 587034"/>
              <a:gd name="connsiteX23" fmla="*/ 110501 w 609473"/>
              <a:gd name="connsiteY23" fmla="*/ 386700 h 587034"/>
              <a:gd name="connsiteX24" fmla="*/ 316407 w 609473"/>
              <a:gd name="connsiteY24" fmla="*/ 206077 h 587034"/>
              <a:gd name="connsiteX25" fmla="*/ 316407 w 609473"/>
              <a:gd name="connsiteY25" fmla="*/ 272924 h 587034"/>
              <a:gd name="connsiteX26" fmla="*/ 335965 w 609473"/>
              <a:gd name="connsiteY26" fmla="*/ 266783 h 587034"/>
              <a:gd name="connsiteX27" fmla="*/ 346551 w 609473"/>
              <a:gd name="connsiteY27" fmla="*/ 239602 h 587034"/>
              <a:gd name="connsiteX28" fmla="*/ 336570 w 609473"/>
              <a:gd name="connsiteY28" fmla="*/ 216346 h 587034"/>
              <a:gd name="connsiteX29" fmla="*/ 316407 w 609473"/>
              <a:gd name="connsiteY29" fmla="*/ 206077 h 587034"/>
              <a:gd name="connsiteX30" fmla="*/ 299872 w 609473"/>
              <a:gd name="connsiteY30" fmla="*/ 94230 h 587034"/>
              <a:gd name="connsiteX31" fmla="*/ 277793 w 609473"/>
              <a:gd name="connsiteY31" fmla="*/ 102183 h 587034"/>
              <a:gd name="connsiteX32" fmla="*/ 270534 w 609473"/>
              <a:gd name="connsiteY32" fmla="*/ 122922 h 587034"/>
              <a:gd name="connsiteX33" fmla="*/ 281322 w 609473"/>
              <a:gd name="connsiteY33" fmla="*/ 145674 h 587034"/>
              <a:gd name="connsiteX34" fmla="*/ 299872 w 609473"/>
              <a:gd name="connsiteY34" fmla="*/ 154231 h 587034"/>
              <a:gd name="connsiteX35" fmla="*/ 316407 w 609473"/>
              <a:gd name="connsiteY35" fmla="*/ 42585 h 587034"/>
              <a:gd name="connsiteX36" fmla="*/ 316407 w 609473"/>
              <a:gd name="connsiteY36" fmla="*/ 56478 h 587034"/>
              <a:gd name="connsiteX37" fmla="*/ 360061 w 609473"/>
              <a:gd name="connsiteY37" fmla="*/ 70169 h 587034"/>
              <a:gd name="connsiteX38" fmla="*/ 389904 w 609473"/>
              <a:gd name="connsiteY38" fmla="*/ 129465 h 587034"/>
              <a:gd name="connsiteX39" fmla="*/ 344837 w 609473"/>
              <a:gd name="connsiteY39" fmla="*/ 129465 h 587034"/>
              <a:gd name="connsiteX40" fmla="*/ 339797 w 609473"/>
              <a:gd name="connsiteY40" fmla="*/ 107217 h 587034"/>
              <a:gd name="connsiteX41" fmla="*/ 316407 w 609473"/>
              <a:gd name="connsiteY41" fmla="*/ 93928 h 587034"/>
              <a:gd name="connsiteX42" fmla="*/ 316407 w 609473"/>
              <a:gd name="connsiteY42" fmla="*/ 159063 h 587034"/>
              <a:gd name="connsiteX43" fmla="*/ 371050 w 609473"/>
              <a:gd name="connsiteY43" fmla="*/ 183829 h 587034"/>
              <a:gd name="connsiteX44" fmla="*/ 394037 w 609473"/>
              <a:gd name="connsiteY44" fmla="*/ 234467 h 587034"/>
              <a:gd name="connsiteX45" fmla="*/ 362380 w 609473"/>
              <a:gd name="connsiteY45" fmla="*/ 297086 h 587034"/>
              <a:gd name="connsiteX46" fmla="*/ 316407 w 609473"/>
              <a:gd name="connsiteY46" fmla="*/ 311079 h 587034"/>
              <a:gd name="connsiteX47" fmla="*/ 316407 w 609473"/>
              <a:gd name="connsiteY47" fmla="*/ 318328 h 587034"/>
              <a:gd name="connsiteX48" fmla="*/ 445959 w 609473"/>
              <a:gd name="connsiteY48" fmla="*/ 180507 h 587034"/>
              <a:gd name="connsiteX49" fmla="*/ 316407 w 609473"/>
              <a:gd name="connsiteY49" fmla="*/ 42585 h 587034"/>
              <a:gd name="connsiteX50" fmla="*/ 299872 w 609473"/>
              <a:gd name="connsiteY50" fmla="*/ 42484 h 587034"/>
              <a:gd name="connsiteX51" fmla="*/ 168808 w 609473"/>
              <a:gd name="connsiteY51" fmla="*/ 180507 h 587034"/>
              <a:gd name="connsiteX52" fmla="*/ 299872 w 609473"/>
              <a:gd name="connsiteY52" fmla="*/ 318428 h 587034"/>
              <a:gd name="connsiteX53" fmla="*/ 299872 w 609473"/>
              <a:gd name="connsiteY53" fmla="*/ 311381 h 587034"/>
              <a:gd name="connsiteX54" fmla="*/ 249564 w 609473"/>
              <a:gd name="connsiteY54" fmla="*/ 296683 h 587034"/>
              <a:gd name="connsiteX55" fmla="*/ 220729 w 609473"/>
              <a:gd name="connsiteY55" fmla="*/ 229635 h 587034"/>
              <a:gd name="connsiteX56" fmla="*/ 266904 w 609473"/>
              <a:gd name="connsiteY56" fmla="*/ 229635 h 587034"/>
              <a:gd name="connsiteX57" fmla="*/ 273659 w 609473"/>
              <a:gd name="connsiteY57" fmla="*/ 258528 h 587034"/>
              <a:gd name="connsiteX58" fmla="*/ 299872 w 609473"/>
              <a:gd name="connsiteY58" fmla="*/ 273428 h 587034"/>
              <a:gd name="connsiteX59" fmla="*/ 299872 w 609473"/>
              <a:gd name="connsiteY59" fmla="*/ 200440 h 587034"/>
              <a:gd name="connsiteX60" fmla="*/ 285959 w 609473"/>
              <a:gd name="connsiteY60" fmla="*/ 196312 h 587034"/>
              <a:gd name="connsiteX61" fmla="*/ 239784 w 609473"/>
              <a:gd name="connsiteY61" fmla="*/ 169634 h 587034"/>
              <a:gd name="connsiteX62" fmla="*/ 226375 w 609473"/>
              <a:gd name="connsiteY62" fmla="*/ 128459 h 587034"/>
              <a:gd name="connsiteX63" fmla="*/ 231618 w 609473"/>
              <a:gd name="connsiteY63" fmla="*/ 99566 h 587034"/>
              <a:gd name="connsiteX64" fmla="*/ 246237 w 609473"/>
              <a:gd name="connsiteY64" fmla="*/ 77115 h 587034"/>
              <a:gd name="connsiteX65" fmla="*/ 273256 w 609473"/>
              <a:gd name="connsiteY65" fmla="*/ 60404 h 587034"/>
              <a:gd name="connsiteX66" fmla="*/ 299872 w 609473"/>
              <a:gd name="connsiteY66" fmla="*/ 56075 h 587034"/>
              <a:gd name="connsiteX67" fmla="*/ 307333 w 609473"/>
              <a:gd name="connsiteY67" fmla="*/ 0 h 587034"/>
              <a:gd name="connsiteX68" fmla="*/ 488101 w 609473"/>
              <a:gd name="connsiteY68" fmla="*/ 180507 h 587034"/>
              <a:gd name="connsiteX69" fmla="*/ 307333 w 609473"/>
              <a:gd name="connsiteY69" fmla="*/ 361013 h 587034"/>
              <a:gd name="connsiteX70" fmla="*/ 126665 w 609473"/>
              <a:gd name="connsiteY70" fmla="*/ 180507 h 587034"/>
              <a:gd name="connsiteX71" fmla="*/ 307333 w 609473"/>
              <a:gd name="connsiteY71" fmla="*/ 0 h 587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</a:cxnLst>
            <a:rect l="l" t="t" r="r" b="b"/>
            <a:pathLst>
              <a:path w="609473" h="587034">
                <a:moveTo>
                  <a:pt x="304701" y="381618"/>
                </a:moveTo>
                <a:lnTo>
                  <a:pt x="325879" y="394101"/>
                </a:lnTo>
                <a:lnTo>
                  <a:pt x="309542" y="410914"/>
                </a:lnTo>
                <a:lnTo>
                  <a:pt x="331022" y="433867"/>
                </a:lnTo>
                <a:lnTo>
                  <a:pt x="312466" y="468800"/>
                </a:lnTo>
                <a:cubicBezTo>
                  <a:pt x="307021" y="479069"/>
                  <a:pt x="298751" y="478767"/>
                  <a:pt x="294112" y="468096"/>
                </a:cubicBezTo>
                <a:lnTo>
                  <a:pt x="278380" y="432055"/>
                </a:lnTo>
                <a:lnTo>
                  <a:pt x="299861" y="410612"/>
                </a:lnTo>
                <a:lnTo>
                  <a:pt x="284028" y="393397"/>
                </a:lnTo>
                <a:close/>
                <a:moveTo>
                  <a:pt x="224835" y="380559"/>
                </a:moveTo>
                <a:lnTo>
                  <a:pt x="283211" y="483344"/>
                </a:lnTo>
                <a:cubicBezTo>
                  <a:pt x="289260" y="493914"/>
                  <a:pt x="297024" y="499753"/>
                  <a:pt x="305190" y="499753"/>
                </a:cubicBezTo>
                <a:cubicBezTo>
                  <a:pt x="313155" y="499753"/>
                  <a:pt x="320919" y="494015"/>
                  <a:pt x="327069" y="483646"/>
                </a:cubicBezTo>
                <a:lnTo>
                  <a:pt x="387865" y="380861"/>
                </a:lnTo>
                <a:lnTo>
                  <a:pt x="498972" y="386700"/>
                </a:lnTo>
                <a:cubicBezTo>
                  <a:pt x="529521" y="388311"/>
                  <a:pt x="565716" y="400492"/>
                  <a:pt x="581344" y="414485"/>
                </a:cubicBezTo>
                <a:cubicBezTo>
                  <a:pt x="597072" y="428679"/>
                  <a:pt x="609473" y="464015"/>
                  <a:pt x="609473" y="494820"/>
                </a:cubicBezTo>
                <a:lnTo>
                  <a:pt x="609473" y="529048"/>
                </a:lnTo>
                <a:cubicBezTo>
                  <a:pt x="609473" y="561061"/>
                  <a:pt x="583360" y="587034"/>
                  <a:pt x="551399" y="587034"/>
                </a:cubicBezTo>
                <a:lnTo>
                  <a:pt x="58074" y="587034"/>
                </a:lnTo>
                <a:cubicBezTo>
                  <a:pt x="26012" y="587034"/>
                  <a:pt x="0" y="561061"/>
                  <a:pt x="0" y="529048"/>
                </a:cubicBezTo>
                <a:lnTo>
                  <a:pt x="0" y="494820"/>
                </a:lnTo>
                <a:cubicBezTo>
                  <a:pt x="0" y="464015"/>
                  <a:pt x="12401" y="428679"/>
                  <a:pt x="28129" y="414485"/>
                </a:cubicBezTo>
                <a:cubicBezTo>
                  <a:pt x="43757" y="400492"/>
                  <a:pt x="79851" y="388311"/>
                  <a:pt x="110501" y="386700"/>
                </a:cubicBezTo>
                <a:close/>
                <a:moveTo>
                  <a:pt x="316407" y="206077"/>
                </a:moveTo>
                <a:lnTo>
                  <a:pt x="316407" y="272924"/>
                </a:lnTo>
                <a:cubicBezTo>
                  <a:pt x="325379" y="271817"/>
                  <a:pt x="331832" y="269703"/>
                  <a:pt x="335965" y="266783"/>
                </a:cubicBezTo>
                <a:cubicBezTo>
                  <a:pt x="343023" y="261548"/>
                  <a:pt x="346551" y="252488"/>
                  <a:pt x="346551" y="239602"/>
                </a:cubicBezTo>
                <a:cubicBezTo>
                  <a:pt x="346551" y="229736"/>
                  <a:pt x="343224" y="222084"/>
                  <a:pt x="336570" y="216346"/>
                </a:cubicBezTo>
                <a:cubicBezTo>
                  <a:pt x="332638" y="213024"/>
                  <a:pt x="325884" y="209601"/>
                  <a:pt x="316407" y="206077"/>
                </a:cubicBezTo>
                <a:close/>
                <a:moveTo>
                  <a:pt x="299872" y="94230"/>
                </a:moveTo>
                <a:cubicBezTo>
                  <a:pt x="289891" y="94431"/>
                  <a:pt x="282531" y="97149"/>
                  <a:pt x="277793" y="102183"/>
                </a:cubicBezTo>
                <a:cubicBezTo>
                  <a:pt x="272954" y="107317"/>
                  <a:pt x="270534" y="114163"/>
                  <a:pt x="270534" y="122922"/>
                </a:cubicBezTo>
                <a:cubicBezTo>
                  <a:pt x="270534" y="132586"/>
                  <a:pt x="274163" y="140137"/>
                  <a:pt x="281322" y="145674"/>
                </a:cubicBezTo>
                <a:cubicBezTo>
                  <a:pt x="285354" y="148795"/>
                  <a:pt x="291504" y="151613"/>
                  <a:pt x="299872" y="154231"/>
                </a:cubicBezTo>
                <a:close/>
                <a:moveTo>
                  <a:pt x="316407" y="42585"/>
                </a:moveTo>
                <a:lnTo>
                  <a:pt x="316407" y="56478"/>
                </a:lnTo>
                <a:cubicBezTo>
                  <a:pt x="334957" y="57887"/>
                  <a:pt x="349576" y="62518"/>
                  <a:pt x="360061" y="70169"/>
                </a:cubicBezTo>
                <a:cubicBezTo>
                  <a:pt x="379318" y="82350"/>
                  <a:pt x="389198" y="102082"/>
                  <a:pt x="389904" y="129465"/>
                </a:cubicBezTo>
                <a:lnTo>
                  <a:pt x="344837" y="129465"/>
                </a:lnTo>
                <a:cubicBezTo>
                  <a:pt x="344031" y="119297"/>
                  <a:pt x="342317" y="111948"/>
                  <a:pt x="339797" y="107217"/>
                </a:cubicBezTo>
                <a:cubicBezTo>
                  <a:pt x="335562" y="99163"/>
                  <a:pt x="327698" y="94733"/>
                  <a:pt x="316407" y="93928"/>
                </a:cubicBezTo>
                <a:lnTo>
                  <a:pt x="316407" y="159063"/>
                </a:lnTo>
                <a:cubicBezTo>
                  <a:pt x="343527" y="168426"/>
                  <a:pt x="361674" y="176681"/>
                  <a:pt x="371050" y="183829"/>
                </a:cubicBezTo>
                <a:cubicBezTo>
                  <a:pt x="386375" y="195809"/>
                  <a:pt x="394037" y="212722"/>
                  <a:pt x="394037" y="234467"/>
                </a:cubicBezTo>
                <a:cubicBezTo>
                  <a:pt x="394037" y="263159"/>
                  <a:pt x="383451" y="284099"/>
                  <a:pt x="362380" y="297086"/>
                </a:cubicBezTo>
                <a:cubicBezTo>
                  <a:pt x="349475" y="305039"/>
                  <a:pt x="334151" y="309670"/>
                  <a:pt x="316407" y="311079"/>
                </a:cubicBezTo>
                <a:lnTo>
                  <a:pt x="316407" y="318328"/>
                </a:lnTo>
                <a:cubicBezTo>
                  <a:pt x="388593" y="313697"/>
                  <a:pt x="445959" y="253696"/>
                  <a:pt x="445959" y="180507"/>
                </a:cubicBezTo>
                <a:cubicBezTo>
                  <a:pt x="445959" y="107217"/>
                  <a:pt x="388593" y="47316"/>
                  <a:pt x="316407" y="42585"/>
                </a:cubicBezTo>
                <a:close/>
                <a:moveTo>
                  <a:pt x="299872" y="42484"/>
                </a:moveTo>
                <a:cubicBezTo>
                  <a:pt x="226980" y="46410"/>
                  <a:pt x="168808" y="106713"/>
                  <a:pt x="168808" y="180507"/>
                </a:cubicBezTo>
                <a:cubicBezTo>
                  <a:pt x="168808" y="254199"/>
                  <a:pt x="226980" y="314502"/>
                  <a:pt x="299872" y="318428"/>
                </a:cubicBezTo>
                <a:lnTo>
                  <a:pt x="299872" y="311381"/>
                </a:lnTo>
                <a:cubicBezTo>
                  <a:pt x="277390" y="308864"/>
                  <a:pt x="260553" y="303931"/>
                  <a:pt x="249564" y="296683"/>
                </a:cubicBezTo>
                <a:cubicBezTo>
                  <a:pt x="230005" y="283596"/>
                  <a:pt x="220427" y="261246"/>
                  <a:pt x="220729" y="229635"/>
                </a:cubicBezTo>
                <a:lnTo>
                  <a:pt x="266904" y="229635"/>
                </a:lnTo>
                <a:cubicBezTo>
                  <a:pt x="268518" y="244031"/>
                  <a:pt x="270736" y="253696"/>
                  <a:pt x="273659" y="258528"/>
                </a:cubicBezTo>
                <a:cubicBezTo>
                  <a:pt x="278095" y="266179"/>
                  <a:pt x="286867" y="271112"/>
                  <a:pt x="299872" y="273428"/>
                </a:cubicBezTo>
                <a:lnTo>
                  <a:pt x="299872" y="200440"/>
                </a:lnTo>
                <a:lnTo>
                  <a:pt x="285959" y="196312"/>
                </a:lnTo>
                <a:cubicBezTo>
                  <a:pt x="264182" y="189970"/>
                  <a:pt x="248757" y="181010"/>
                  <a:pt x="239784" y="169634"/>
                </a:cubicBezTo>
                <a:cubicBezTo>
                  <a:pt x="230811" y="158258"/>
                  <a:pt x="226375" y="144466"/>
                  <a:pt x="226375" y="128459"/>
                </a:cubicBezTo>
                <a:cubicBezTo>
                  <a:pt x="226375" y="117787"/>
                  <a:pt x="228089" y="108223"/>
                  <a:pt x="231618" y="99566"/>
                </a:cubicBezTo>
                <a:cubicBezTo>
                  <a:pt x="235046" y="90908"/>
                  <a:pt x="239986" y="83357"/>
                  <a:pt x="246237" y="77115"/>
                </a:cubicBezTo>
                <a:cubicBezTo>
                  <a:pt x="254302" y="69062"/>
                  <a:pt x="263376" y="63424"/>
                  <a:pt x="273256" y="60404"/>
                </a:cubicBezTo>
                <a:cubicBezTo>
                  <a:pt x="279406" y="58390"/>
                  <a:pt x="288177" y="56981"/>
                  <a:pt x="299872" y="56075"/>
                </a:cubicBezTo>
                <a:close/>
                <a:moveTo>
                  <a:pt x="307333" y="0"/>
                </a:moveTo>
                <a:cubicBezTo>
                  <a:pt x="407043" y="0"/>
                  <a:pt x="488101" y="80941"/>
                  <a:pt x="488101" y="180507"/>
                </a:cubicBezTo>
                <a:cubicBezTo>
                  <a:pt x="488101" y="279971"/>
                  <a:pt x="407043" y="361013"/>
                  <a:pt x="307333" y="361013"/>
                </a:cubicBezTo>
                <a:cubicBezTo>
                  <a:pt x="207724" y="361013"/>
                  <a:pt x="126665" y="279971"/>
                  <a:pt x="126665" y="180507"/>
                </a:cubicBezTo>
                <a:cubicBezTo>
                  <a:pt x="126665" y="80941"/>
                  <a:pt x="207724" y="0"/>
                  <a:pt x="307333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anchor="ctr"/>
          <a:lstStyle/>
          <a:p>
            <a:pPr algn="ctr"/>
          </a:p>
        </p:txBody>
      </p:sp>
      <p:sp>
        <p:nvSpPr>
          <p:cNvPr id="82" name="任意多边形 81"/>
          <p:cNvSpPr/>
          <p:nvPr>
            <p:custDataLst>
              <p:tags r:id="rId11"/>
            </p:custDataLst>
          </p:nvPr>
        </p:nvSpPr>
        <p:spPr bwMode="auto">
          <a:xfrm>
            <a:off x="3449382" y="5440662"/>
            <a:ext cx="287411" cy="276830"/>
          </a:xfrm>
          <a:custGeom>
            <a:avLst/>
            <a:gdLst>
              <a:gd name="T0" fmla="*/ 3413 w 6827"/>
              <a:gd name="T1" fmla="*/ 0 h 5912"/>
              <a:gd name="T2" fmla="*/ 0 w 6827"/>
              <a:gd name="T3" fmla="*/ 5912 h 5912"/>
              <a:gd name="T4" fmla="*/ 6827 w 6827"/>
              <a:gd name="T5" fmla="*/ 5912 h 5912"/>
              <a:gd name="T6" fmla="*/ 3413 w 6827"/>
              <a:gd name="T7" fmla="*/ 0 h 5912"/>
              <a:gd name="T8" fmla="*/ 3413 w 6827"/>
              <a:gd name="T9" fmla="*/ 972 h 5912"/>
              <a:gd name="T10" fmla="*/ 4489 w 6827"/>
              <a:gd name="T11" fmla="*/ 2835 h 5912"/>
              <a:gd name="T12" fmla="*/ 2338 w 6827"/>
              <a:gd name="T13" fmla="*/ 2835 h 5912"/>
              <a:gd name="T14" fmla="*/ 3413 w 6827"/>
              <a:gd name="T15" fmla="*/ 972 h 5912"/>
              <a:gd name="T16" fmla="*/ 842 w 6827"/>
              <a:gd name="T17" fmla="*/ 5426 h 5912"/>
              <a:gd name="T18" fmla="*/ 1917 w 6827"/>
              <a:gd name="T19" fmla="*/ 3564 h 5912"/>
              <a:gd name="T20" fmla="*/ 2993 w 6827"/>
              <a:gd name="T21" fmla="*/ 5426 h 5912"/>
              <a:gd name="T22" fmla="*/ 842 w 6827"/>
              <a:gd name="T23" fmla="*/ 5426 h 5912"/>
              <a:gd name="T24" fmla="*/ 2338 w 6827"/>
              <a:gd name="T25" fmla="*/ 3321 h 5912"/>
              <a:gd name="T26" fmla="*/ 4489 w 6827"/>
              <a:gd name="T27" fmla="*/ 3321 h 5912"/>
              <a:gd name="T28" fmla="*/ 3413 w 6827"/>
              <a:gd name="T29" fmla="*/ 5183 h 5912"/>
              <a:gd name="T30" fmla="*/ 2338 w 6827"/>
              <a:gd name="T31" fmla="*/ 3321 h 5912"/>
              <a:gd name="T32" fmla="*/ 4910 w 6827"/>
              <a:gd name="T33" fmla="*/ 3564 h 5912"/>
              <a:gd name="T34" fmla="*/ 5985 w 6827"/>
              <a:gd name="T35" fmla="*/ 5426 h 5912"/>
              <a:gd name="T36" fmla="*/ 3834 w 6827"/>
              <a:gd name="T37" fmla="*/ 5426 h 5912"/>
              <a:gd name="T38" fmla="*/ 4910 w 6827"/>
              <a:gd name="T39" fmla="*/ 3564 h 59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6827" h="5912">
                <a:moveTo>
                  <a:pt x="3413" y="0"/>
                </a:moveTo>
                <a:lnTo>
                  <a:pt x="0" y="5912"/>
                </a:lnTo>
                <a:lnTo>
                  <a:pt x="6827" y="5912"/>
                </a:lnTo>
                <a:lnTo>
                  <a:pt x="3413" y="0"/>
                </a:lnTo>
                <a:close/>
                <a:moveTo>
                  <a:pt x="3413" y="972"/>
                </a:moveTo>
                <a:lnTo>
                  <a:pt x="4489" y="2835"/>
                </a:lnTo>
                <a:lnTo>
                  <a:pt x="2338" y="2835"/>
                </a:lnTo>
                <a:lnTo>
                  <a:pt x="3413" y="972"/>
                </a:lnTo>
                <a:close/>
                <a:moveTo>
                  <a:pt x="842" y="5426"/>
                </a:moveTo>
                <a:lnTo>
                  <a:pt x="1917" y="3564"/>
                </a:lnTo>
                <a:lnTo>
                  <a:pt x="2993" y="5426"/>
                </a:lnTo>
                <a:lnTo>
                  <a:pt x="842" y="5426"/>
                </a:lnTo>
                <a:close/>
                <a:moveTo>
                  <a:pt x="2338" y="3321"/>
                </a:moveTo>
                <a:lnTo>
                  <a:pt x="4489" y="3321"/>
                </a:lnTo>
                <a:lnTo>
                  <a:pt x="3413" y="5183"/>
                </a:lnTo>
                <a:lnTo>
                  <a:pt x="2338" y="3321"/>
                </a:lnTo>
                <a:close/>
                <a:moveTo>
                  <a:pt x="4910" y="3564"/>
                </a:moveTo>
                <a:lnTo>
                  <a:pt x="5985" y="5426"/>
                </a:lnTo>
                <a:lnTo>
                  <a:pt x="3834" y="5426"/>
                </a:lnTo>
                <a:lnTo>
                  <a:pt x="4910" y="356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anchor="ctr"/>
          <a:lstStyle/>
          <a:p>
            <a:pPr algn="ctr"/>
          </a:p>
        </p:txBody>
      </p:sp>
      <p:sp>
        <p:nvSpPr>
          <p:cNvPr id="87" name="任意多边形 86"/>
          <p:cNvSpPr/>
          <p:nvPr>
            <p:custDataLst>
              <p:tags r:id="rId12"/>
            </p:custDataLst>
          </p:nvPr>
        </p:nvSpPr>
        <p:spPr>
          <a:xfrm>
            <a:off x="3024757" y="4338738"/>
            <a:ext cx="310549" cy="310581"/>
          </a:xfrm>
          <a:custGeom>
            <a:avLst/>
            <a:gdLst/>
            <a:ahLst/>
            <a:cxnLst/>
            <a:rect l="0" t="0" r="0" b="0"/>
            <a:pathLst>
              <a:path w="12725400" h="12726672">
                <a:moveTo>
                  <a:pt x="5332730" y="7392670"/>
                </a:moveTo>
                <a:cubicBezTo>
                  <a:pt x="4206240" y="6267450"/>
                  <a:pt x="3129280" y="4963160"/>
                  <a:pt x="3646170" y="4447540"/>
                </a:cubicBezTo>
                <a:cubicBezTo>
                  <a:pt x="4384040" y="3709670"/>
                  <a:pt x="5026660" y="3255010"/>
                  <a:pt x="3719830" y="1628140"/>
                </a:cubicBezTo>
                <a:cubicBezTo>
                  <a:pt x="2411730" y="0"/>
                  <a:pt x="1539240" y="1249680"/>
                  <a:pt x="824230" y="1964690"/>
                </a:cubicBezTo>
                <a:cubicBezTo>
                  <a:pt x="0" y="2790190"/>
                  <a:pt x="781050" y="5864860"/>
                  <a:pt x="3820160" y="8905240"/>
                </a:cubicBezTo>
                <a:cubicBezTo>
                  <a:pt x="6859270" y="11944350"/>
                  <a:pt x="9935210" y="12726671"/>
                  <a:pt x="10760710" y="11901171"/>
                </a:cubicBezTo>
                <a:cubicBezTo>
                  <a:pt x="11475720" y="11186161"/>
                  <a:pt x="12725399" y="10314940"/>
                  <a:pt x="11098529" y="9006840"/>
                </a:cubicBezTo>
                <a:cubicBezTo>
                  <a:pt x="9471629" y="7698779"/>
                  <a:pt x="9016999" y="8341360"/>
                  <a:pt x="8279129" y="9080500"/>
                </a:cubicBezTo>
                <a:cubicBezTo>
                  <a:pt x="7762239" y="9594850"/>
                  <a:pt x="6459220" y="8517890"/>
                  <a:pt x="5332729" y="7392671"/>
                </a:cubicBezTo>
              </a:path>
            </a:pathLst>
          </a:custGeom>
          <a:solidFill>
            <a:srgbClr val="FFFFFF"/>
          </a:solidFill>
          <a:ln w="6350" cap="flat" cmpd="sng" algn="ctr">
            <a:noFill/>
            <a:prstDash val="solid"/>
            <a:miter lim="800000"/>
          </a:ln>
          <a:effectLst/>
        </p:spPr>
        <p:style>
          <a:lnRef idx="1">
            <a:srgbClr val="4276AA"/>
          </a:lnRef>
          <a:fillRef idx="0">
            <a:srgbClr val="4276AA"/>
          </a:fillRef>
          <a:effectRef idx="0">
            <a:srgbClr val="4276AA"/>
          </a:effectRef>
          <a:fontRef idx="minor">
            <a:srgbClr val="000000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5" name="文本框 34"/>
          <p:cNvSpPr txBox="1"/>
          <p:nvPr>
            <p:custDataLst>
              <p:tags r:id="rId13"/>
            </p:custDataLst>
          </p:nvPr>
        </p:nvSpPr>
        <p:spPr>
          <a:xfrm>
            <a:off x="709930" y="3357245"/>
            <a:ext cx="2314575" cy="525780"/>
          </a:xfrm>
          <a:prstGeom prst="rect">
            <a:avLst/>
          </a:prstGeom>
          <a:noFill/>
        </p:spPr>
        <p:txBody>
          <a:bodyPr wrap="square" lIns="90000" tIns="46800" rIns="90000" bIns="0" anchor="b" anchorCtr="0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457200" algn="l" defTabSz="913765" rtl="0" eaLnBrk="1" latinLnBrk="0" hangingPunct="1">
              <a:defRPr sz="1800" kern="120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2pPr>
            <a:lvl3pPr marL="914400" algn="l" defTabSz="913765" rtl="0" eaLnBrk="1" latinLnBrk="0" hangingPunct="1">
              <a:defRPr sz="1800" kern="120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3pPr>
            <a:lvl4pPr marL="1371600" algn="l" defTabSz="913765" rtl="0" eaLnBrk="1" latinLnBrk="0" hangingPunct="1">
              <a:defRPr sz="1800" kern="120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4pPr>
            <a:lvl5pPr marL="1828800" algn="l" defTabSz="913765" rtl="0" eaLnBrk="1" latinLnBrk="0" hangingPunct="1">
              <a:defRPr sz="1800" kern="120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5pPr>
            <a:lvl6pPr marL="2286000" algn="l" defTabSz="913765" rtl="0" eaLnBrk="1" latinLnBrk="0" hangingPunct="1">
              <a:defRPr sz="1800" kern="120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6pPr>
            <a:lvl7pPr marL="2743200" algn="l" defTabSz="913765" rtl="0" eaLnBrk="1" latinLnBrk="0" hangingPunct="1">
              <a:defRPr sz="1800" kern="120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7pPr>
            <a:lvl8pPr marL="3200400" algn="l" defTabSz="913765" rtl="0" eaLnBrk="1" latinLnBrk="0" hangingPunct="1">
              <a:defRPr sz="1800" kern="120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8pPr>
            <a:lvl9pPr marL="3657600" algn="l" defTabSz="913765" rtl="0" eaLnBrk="1" latinLnBrk="0" hangingPunct="1">
              <a:defRPr sz="1800" kern="120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9pPr>
          </a:lstStyle>
          <a:p>
            <a:pPr algn="r">
              <a:lnSpc>
                <a:spcPct val="120000"/>
              </a:lnSpc>
            </a:pPr>
            <a:r>
              <a:rPr lang="zh-CN" altLang="en-US" sz="2000" b="1" spc="300" dirty="0">
                <a:solidFill>
                  <a:srgbClr val="4276AA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UI展示</a:t>
            </a:r>
            <a:endParaRPr lang="zh-CN" altLang="en-US" sz="2000" b="1" spc="300" dirty="0">
              <a:solidFill>
                <a:srgbClr val="4276AA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37" name="文本框 36"/>
          <p:cNvSpPr txBox="1"/>
          <p:nvPr>
            <p:custDataLst>
              <p:tags r:id="rId14"/>
            </p:custDataLst>
          </p:nvPr>
        </p:nvSpPr>
        <p:spPr>
          <a:xfrm>
            <a:off x="407670" y="4307205"/>
            <a:ext cx="2458720" cy="528320"/>
          </a:xfrm>
          <a:prstGeom prst="rect">
            <a:avLst/>
          </a:prstGeom>
          <a:noFill/>
        </p:spPr>
        <p:txBody>
          <a:bodyPr wrap="square" lIns="90000" tIns="46800" rIns="90000" bIns="0" anchor="b" anchorCtr="0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457200" algn="l" defTabSz="913765" rtl="0" eaLnBrk="1" latinLnBrk="0" hangingPunct="1">
              <a:defRPr sz="1800" kern="120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2pPr>
            <a:lvl3pPr marL="914400" algn="l" defTabSz="913765" rtl="0" eaLnBrk="1" latinLnBrk="0" hangingPunct="1">
              <a:defRPr sz="1800" kern="120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3pPr>
            <a:lvl4pPr marL="1371600" algn="l" defTabSz="913765" rtl="0" eaLnBrk="1" latinLnBrk="0" hangingPunct="1">
              <a:defRPr sz="1800" kern="120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4pPr>
            <a:lvl5pPr marL="1828800" algn="l" defTabSz="913765" rtl="0" eaLnBrk="1" latinLnBrk="0" hangingPunct="1">
              <a:defRPr sz="1800" kern="120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5pPr>
            <a:lvl6pPr marL="2286000" algn="l" defTabSz="913765" rtl="0" eaLnBrk="1" latinLnBrk="0" hangingPunct="1">
              <a:defRPr sz="1800" kern="120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6pPr>
            <a:lvl7pPr marL="2743200" algn="l" defTabSz="913765" rtl="0" eaLnBrk="1" latinLnBrk="0" hangingPunct="1">
              <a:defRPr sz="1800" kern="120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7pPr>
            <a:lvl8pPr marL="3200400" algn="l" defTabSz="913765" rtl="0" eaLnBrk="1" latinLnBrk="0" hangingPunct="1">
              <a:defRPr sz="1800" kern="120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8pPr>
            <a:lvl9pPr marL="3657600" algn="l" defTabSz="913765" rtl="0" eaLnBrk="1" latinLnBrk="0" hangingPunct="1">
              <a:defRPr sz="1800" kern="120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9pPr>
          </a:lstStyle>
          <a:p>
            <a:pPr algn="r">
              <a:lnSpc>
                <a:spcPct val="120000"/>
              </a:lnSpc>
            </a:pPr>
            <a:r>
              <a:rPr lang="zh-CN" altLang="en-US" sz="2000" b="1" spc="300" dirty="0">
                <a:solidFill>
                  <a:srgbClr val="5E5CA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阅读理解与答题</a:t>
            </a:r>
            <a:endParaRPr lang="zh-CN" altLang="en-US" sz="2000" b="1" spc="300" dirty="0">
              <a:solidFill>
                <a:srgbClr val="5E5CA2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39" name="文本框 38"/>
          <p:cNvSpPr txBox="1"/>
          <p:nvPr>
            <p:custDataLst>
              <p:tags r:id="rId15"/>
            </p:custDataLst>
          </p:nvPr>
        </p:nvSpPr>
        <p:spPr>
          <a:xfrm>
            <a:off x="504190" y="5442585"/>
            <a:ext cx="2707005" cy="568960"/>
          </a:xfrm>
          <a:prstGeom prst="rect">
            <a:avLst/>
          </a:prstGeom>
          <a:noFill/>
        </p:spPr>
        <p:txBody>
          <a:bodyPr wrap="square" lIns="90000" tIns="46800" rIns="90000" bIns="0" anchor="b" anchorCtr="0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457200" algn="l" defTabSz="913765" rtl="0" eaLnBrk="1" latinLnBrk="0" hangingPunct="1">
              <a:defRPr sz="1800" kern="120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2pPr>
            <a:lvl3pPr marL="914400" algn="l" defTabSz="913765" rtl="0" eaLnBrk="1" latinLnBrk="0" hangingPunct="1">
              <a:defRPr sz="1800" kern="120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3pPr>
            <a:lvl4pPr marL="1371600" algn="l" defTabSz="913765" rtl="0" eaLnBrk="1" latinLnBrk="0" hangingPunct="1">
              <a:defRPr sz="1800" kern="120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4pPr>
            <a:lvl5pPr marL="1828800" algn="l" defTabSz="913765" rtl="0" eaLnBrk="1" latinLnBrk="0" hangingPunct="1">
              <a:defRPr sz="1800" kern="120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5pPr>
            <a:lvl6pPr marL="2286000" algn="l" defTabSz="913765" rtl="0" eaLnBrk="1" latinLnBrk="0" hangingPunct="1">
              <a:defRPr sz="1800" kern="120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6pPr>
            <a:lvl7pPr marL="2743200" algn="l" defTabSz="913765" rtl="0" eaLnBrk="1" latinLnBrk="0" hangingPunct="1">
              <a:defRPr sz="1800" kern="120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7pPr>
            <a:lvl8pPr marL="3200400" algn="l" defTabSz="913765" rtl="0" eaLnBrk="1" latinLnBrk="0" hangingPunct="1">
              <a:defRPr sz="1800" kern="120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8pPr>
            <a:lvl9pPr marL="3657600" algn="l" defTabSz="913765" rtl="0" eaLnBrk="1" latinLnBrk="0" hangingPunct="1">
              <a:defRPr sz="1800" kern="120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9pPr>
          </a:lstStyle>
          <a:p>
            <a:pPr algn="r">
              <a:lnSpc>
                <a:spcPct val="120000"/>
              </a:lnSpc>
            </a:pPr>
            <a:r>
              <a:rPr lang="zh-CN" altLang="en-US" sz="2000" b="1" spc="300" dirty="0">
                <a:solidFill>
                  <a:srgbClr val="5268A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听力与答题</a:t>
            </a:r>
            <a:endParaRPr lang="zh-CN" altLang="en-US" sz="2000" b="1" spc="300" dirty="0">
              <a:solidFill>
                <a:srgbClr val="5268A5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41" name="文本框 40"/>
          <p:cNvSpPr txBox="1"/>
          <p:nvPr>
            <p:custDataLst>
              <p:tags r:id="rId16"/>
            </p:custDataLst>
          </p:nvPr>
        </p:nvSpPr>
        <p:spPr>
          <a:xfrm>
            <a:off x="5548630" y="3544570"/>
            <a:ext cx="2942590" cy="665480"/>
          </a:xfrm>
          <a:prstGeom prst="rect">
            <a:avLst/>
          </a:prstGeom>
          <a:noFill/>
        </p:spPr>
        <p:txBody>
          <a:bodyPr wrap="square" lIns="90000" tIns="46800" rIns="90000" bIns="0" anchor="b" anchorCtr="0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457200" algn="l" defTabSz="913765" rtl="0" eaLnBrk="1" latinLnBrk="0" hangingPunct="1">
              <a:defRPr sz="1800" kern="120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2pPr>
            <a:lvl3pPr marL="914400" algn="l" defTabSz="913765" rtl="0" eaLnBrk="1" latinLnBrk="0" hangingPunct="1">
              <a:defRPr sz="1800" kern="120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3pPr>
            <a:lvl4pPr marL="1371600" algn="l" defTabSz="913765" rtl="0" eaLnBrk="1" latinLnBrk="0" hangingPunct="1">
              <a:defRPr sz="1800" kern="120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4pPr>
            <a:lvl5pPr marL="1828800" algn="l" defTabSz="913765" rtl="0" eaLnBrk="1" latinLnBrk="0" hangingPunct="1">
              <a:defRPr sz="1800" kern="120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5pPr>
            <a:lvl6pPr marL="2286000" algn="l" defTabSz="913765" rtl="0" eaLnBrk="1" latinLnBrk="0" hangingPunct="1">
              <a:defRPr sz="1800" kern="120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6pPr>
            <a:lvl7pPr marL="2743200" algn="l" defTabSz="913765" rtl="0" eaLnBrk="1" latinLnBrk="0" hangingPunct="1">
              <a:defRPr sz="1800" kern="120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7pPr>
            <a:lvl8pPr marL="3200400" algn="l" defTabSz="913765" rtl="0" eaLnBrk="1" latinLnBrk="0" hangingPunct="1">
              <a:defRPr sz="1800" kern="120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8pPr>
            <a:lvl9pPr marL="3657600" algn="l" defTabSz="913765" rtl="0" eaLnBrk="1" latinLnBrk="0" hangingPunct="1">
              <a:defRPr sz="1800" kern="120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2000" b="1" spc="300" dirty="0">
                <a:solidFill>
                  <a:srgbClr val="178AA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用户查询历史记录</a:t>
            </a:r>
            <a:endParaRPr lang="zh-CN" altLang="en-US" sz="2000" b="1" spc="300" dirty="0">
              <a:solidFill>
                <a:srgbClr val="178AA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22" name="文本框 21"/>
          <p:cNvSpPr txBox="1"/>
          <p:nvPr>
            <p:custDataLst>
              <p:tags r:id="rId17"/>
            </p:custDataLst>
          </p:nvPr>
        </p:nvSpPr>
        <p:spPr>
          <a:xfrm>
            <a:off x="5548630" y="4956810"/>
            <a:ext cx="3033395" cy="761365"/>
          </a:xfrm>
          <a:prstGeom prst="rect">
            <a:avLst/>
          </a:prstGeom>
          <a:noFill/>
        </p:spPr>
        <p:txBody>
          <a:bodyPr wrap="square" lIns="90000" tIns="46800" rIns="90000" bIns="0" anchor="b" anchorCtr="0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457200" algn="l" defTabSz="913765" rtl="0" eaLnBrk="1" latinLnBrk="0" hangingPunct="1">
              <a:defRPr sz="1800" kern="120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2pPr>
            <a:lvl3pPr marL="914400" algn="l" defTabSz="913765" rtl="0" eaLnBrk="1" latinLnBrk="0" hangingPunct="1">
              <a:defRPr sz="1800" kern="120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3pPr>
            <a:lvl4pPr marL="1371600" algn="l" defTabSz="913765" rtl="0" eaLnBrk="1" latinLnBrk="0" hangingPunct="1">
              <a:defRPr sz="1800" kern="120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4pPr>
            <a:lvl5pPr marL="1828800" algn="l" defTabSz="913765" rtl="0" eaLnBrk="1" latinLnBrk="0" hangingPunct="1">
              <a:defRPr sz="1800" kern="120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5pPr>
            <a:lvl6pPr marL="2286000" algn="l" defTabSz="913765" rtl="0" eaLnBrk="1" latinLnBrk="0" hangingPunct="1">
              <a:defRPr sz="1800" kern="120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6pPr>
            <a:lvl7pPr marL="2743200" algn="l" defTabSz="913765" rtl="0" eaLnBrk="1" latinLnBrk="0" hangingPunct="1">
              <a:defRPr sz="1800" kern="120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7pPr>
            <a:lvl8pPr marL="3200400" algn="l" defTabSz="913765" rtl="0" eaLnBrk="1" latinLnBrk="0" hangingPunct="1">
              <a:defRPr sz="1800" kern="120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8pPr>
            <a:lvl9pPr marL="3657600" algn="l" defTabSz="913765" rtl="0" eaLnBrk="1" latinLnBrk="0" hangingPunct="1">
              <a:defRPr sz="1800" kern="120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2000" b="1" spc="300" dirty="0">
                <a:solidFill>
                  <a:srgbClr val="40A69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用户添加生词本</a:t>
            </a:r>
            <a:endParaRPr lang="zh-CN" altLang="en-US" sz="2000" b="1" spc="300" dirty="0">
              <a:solidFill>
                <a:srgbClr val="40A693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9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5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8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1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3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6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2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8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7" grpId="1"/>
      <p:bldP spid="8" grpId="0" animBg="1"/>
      <p:bldP spid="9" grpId="0"/>
      <p:bldP spid="79" grpId="0" animBg="1"/>
      <p:bldP spid="13" grpId="0" animBg="1"/>
      <p:bldP spid="78" grpId="0" animBg="1"/>
      <p:bldP spid="81" grpId="0" animBg="1"/>
      <p:bldP spid="80" grpId="0" animBg="1"/>
      <p:bldP spid="14" grpId="0" animBg="1"/>
      <p:bldP spid="15" grpId="0" animBg="1"/>
      <p:bldP spid="27" grpId="0" animBg="1"/>
      <p:bldP spid="82" grpId="0" animBg="1"/>
      <p:bldP spid="87" grpId="0" animBg="1"/>
      <p:bldP spid="35" grpId="0"/>
      <p:bldP spid="37" grpId="0"/>
      <p:bldP spid="39" grpId="0"/>
      <p:bldP spid="41" grpId="0"/>
      <p:bldP spid="22" grpId="0"/>
      <p:bldP spid="8" grpId="1" animBg="1"/>
      <p:bldP spid="9" grpId="1"/>
      <p:bldP spid="79" grpId="1" animBg="1"/>
      <p:bldP spid="13" grpId="1" animBg="1"/>
      <p:bldP spid="78" grpId="1" animBg="1"/>
      <p:bldP spid="81" grpId="1" animBg="1"/>
      <p:bldP spid="80" grpId="1" animBg="1"/>
      <p:bldP spid="14" grpId="1" animBg="1"/>
      <p:bldP spid="15" grpId="1" animBg="1"/>
      <p:bldP spid="27" grpId="1" animBg="1"/>
      <p:bldP spid="82" grpId="1" animBg="1"/>
      <p:bldP spid="87" grpId="1" animBg="1"/>
      <p:bldP spid="35" grpId="1"/>
      <p:bldP spid="37" grpId="1"/>
      <p:bldP spid="39" grpId="1"/>
      <p:bldP spid="41" grpId="1"/>
      <p:bldP spid="22" grpId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4" name="文本框 3"/>
          <p:cNvSpPr txBox="1"/>
          <p:nvPr/>
        </p:nvSpPr>
        <p:spPr>
          <a:xfrm>
            <a:off x="425450" y="1100455"/>
            <a:ext cx="481774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/>
              <a:t>2.1测试人员的任务和时间安排</a:t>
            </a:r>
            <a:endParaRPr lang="zh-CN" altLang="en-US"/>
          </a:p>
        </p:txBody>
      </p:sp>
      <p:graphicFrame>
        <p:nvGraphicFramePr>
          <p:cNvPr id="19" name="表格 18"/>
          <p:cNvGraphicFramePr/>
          <p:nvPr>
            <p:custDataLst>
              <p:tags r:id="rId1"/>
            </p:custDataLst>
          </p:nvPr>
        </p:nvGraphicFramePr>
        <p:xfrm>
          <a:off x="425450" y="1991995"/>
          <a:ext cx="9947275" cy="4423410"/>
        </p:xfrm>
        <a:graphic>
          <a:graphicData uri="http://schemas.openxmlformats.org/drawingml/2006/table">
            <a:tbl>
              <a:tblPr firstRow="1" bandRow="1">
                <a:tableStyleId>{98026AAE-A59C-4E9F-9417-6E562D79C9FB}</a:tableStyleId>
              </a:tblPr>
              <a:tblGrid>
                <a:gridCol w="1989455"/>
                <a:gridCol w="1989455"/>
                <a:gridCol w="1989455"/>
                <a:gridCol w="1989455"/>
                <a:gridCol w="1989455"/>
              </a:tblGrid>
              <a:tr h="737235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编号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模块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测试人员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角色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日期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  <a:tr h="737235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1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UI展示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方健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测试人员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2022-10-22/2022-12-3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  <a:tr h="737235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2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阅读理解与答题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林世斌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rowSpan="2">
                  <a:txBody>
                    <a:bodyPr/>
                    <a:p>
                      <a:pPr indent="0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测试人员 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2022-10-22/2022-12-3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  <a:tr h="737235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3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听力与答题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林世斌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vMerge="1">
                  <a:tcPr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2022-10-22/2022-12-3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  <a:tr h="737235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4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用户查询历史记录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刘东杭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rowSpan="2">
                  <a:txBody>
                    <a:bodyPr/>
                    <a:p>
                      <a:pPr indent="0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测试人员 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2022-10-22/2022-12-3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  <a:tr h="737235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5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用户添加生词本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刘东杭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vMerge="1">
                  <a:tcPr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2022-10-22/2022-12-3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4" name="文本框 3"/>
          <p:cNvSpPr txBox="1"/>
          <p:nvPr/>
        </p:nvSpPr>
        <p:spPr>
          <a:xfrm>
            <a:off x="273050" y="349885"/>
            <a:ext cx="379349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/>
              <a:t>2.2测试的进度轮次安排</a:t>
            </a:r>
            <a:endParaRPr lang="zh-CN" altLang="en-US"/>
          </a:p>
        </p:txBody>
      </p:sp>
      <p:graphicFrame>
        <p:nvGraphicFramePr>
          <p:cNvPr id="12" name="表格 11"/>
          <p:cNvGraphicFramePr/>
          <p:nvPr>
            <p:custDataLst>
              <p:tags r:id="rId1"/>
            </p:custDataLst>
          </p:nvPr>
        </p:nvGraphicFramePr>
        <p:xfrm>
          <a:off x="273050" y="967105"/>
          <a:ext cx="8390890" cy="5765800"/>
        </p:xfrm>
        <a:graphic>
          <a:graphicData uri="http://schemas.openxmlformats.org/drawingml/2006/table">
            <a:tbl>
              <a:tblPr firstRow="1" bandRow="1">
                <a:tableStyleId>{98026AAE-A59C-4E9F-9417-6E562D79C9FB}</a:tableStyleId>
              </a:tblPr>
              <a:tblGrid>
                <a:gridCol w="1185545"/>
                <a:gridCol w="1185545"/>
                <a:gridCol w="1185545"/>
                <a:gridCol w="1185545"/>
                <a:gridCol w="1185545"/>
                <a:gridCol w="2463165"/>
              </a:tblGrid>
              <a:tr h="57658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编号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任务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工作量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开始日期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结束日期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责任人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  <a:tr h="57658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 </a:t>
                      </a:r>
                      <a:endParaRPr lang="en-US" altLang="en-US" sz="16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 </a:t>
                      </a:r>
                      <a:endParaRPr lang="en-US" altLang="en-US" sz="16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（人*天）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 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 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 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  <a:tr h="57658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1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需求分析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1*1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2022-10-22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2022-10-22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 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  <a:tr h="57658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2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制定测试计划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1*1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2022-10-24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2022-10-25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 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  <a:tr h="57658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3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设计测试用例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3*3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2022-11-6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2022-11-9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 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  <a:tr h="57658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4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测试环境准备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1*1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2022-11-9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2022-11-9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 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  <a:tr h="57658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5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第一轮功能测试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3*10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2022-11-10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2022-11-20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 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  <a:tr h="57658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6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第二轮功能测试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3*5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2022-11-20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2022-11-24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 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  <a:tr h="57658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7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第三轮功能测试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3*5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2022-11-25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2022-11-29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 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  <a:tr h="57658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8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测试报告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1*1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2022-11-30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2022-12-1</a:t>
                      </a: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endParaRPr lang="en-US" altLang="en-US" sz="16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4" name="文本框 3"/>
          <p:cNvSpPr txBox="1"/>
          <p:nvPr/>
        </p:nvSpPr>
        <p:spPr>
          <a:xfrm>
            <a:off x="161290" y="278765"/>
            <a:ext cx="5224145" cy="11988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/>
              <a:t>根据《（步学英语）需求分析报告》需求，本次测试步学英语的基本功能、客户体验、机器兼容性、异常场景处理等。根据项目的具体特征，我们指定测试策略：功能性测试。</a:t>
            </a:r>
            <a:endParaRPr lang="zh-CN" altLang="en-US"/>
          </a:p>
        </p:txBody>
      </p:sp>
      <p:sp>
        <p:nvSpPr>
          <p:cNvPr id="5" name="文本框 4"/>
          <p:cNvSpPr txBox="1"/>
          <p:nvPr/>
        </p:nvSpPr>
        <p:spPr>
          <a:xfrm>
            <a:off x="161290" y="1577340"/>
            <a:ext cx="507174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/>
              <a:t>3.1功能测试</a:t>
            </a:r>
            <a:endParaRPr lang="zh-CN" altLang="en-US"/>
          </a:p>
        </p:txBody>
      </p:sp>
      <p:sp>
        <p:nvSpPr>
          <p:cNvPr id="6" name="文本框 5"/>
          <p:cNvSpPr txBox="1"/>
          <p:nvPr/>
        </p:nvSpPr>
        <p:spPr>
          <a:xfrm>
            <a:off x="313690" y="2053590"/>
            <a:ext cx="254571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/>
              <a:t>功能测试的描述：</a:t>
            </a:r>
            <a:endParaRPr lang="zh-CN" altLang="en-US"/>
          </a:p>
        </p:txBody>
      </p:sp>
      <p:graphicFrame>
        <p:nvGraphicFramePr>
          <p:cNvPr id="12" name="表格 11"/>
          <p:cNvGraphicFramePr/>
          <p:nvPr>
            <p:custDataLst>
              <p:tags r:id="rId1"/>
            </p:custDataLst>
          </p:nvPr>
        </p:nvGraphicFramePr>
        <p:xfrm>
          <a:off x="425450" y="2545080"/>
          <a:ext cx="7113270" cy="3459480"/>
        </p:xfrm>
        <a:graphic>
          <a:graphicData uri="http://schemas.openxmlformats.org/drawingml/2006/table">
            <a:tbl>
              <a:tblPr firstRow="1" bandRow="1">
                <a:tableStyleId>{98026AAE-A59C-4E9F-9417-6E562D79C9FB}</a:tableStyleId>
              </a:tblPr>
              <a:tblGrid>
                <a:gridCol w="3556635"/>
                <a:gridCol w="3556635"/>
              </a:tblGrid>
              <a:tr h="57658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8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测试目标：</a:t>
                      </a:r>
                      <a:endParaRPr lang="en-US" altLang="en-US" sz="18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t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8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实现步学英语需求中的所有功能点</a:t>
                      </a:r>
                      <a:endParaRPr lang="en-US" altLang="en-US" sz="18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t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  <a:tr h="57658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8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技术或手段：</a:t>
                      </a:r>
                      <a:endParaRPr lang="en-US" altLang="en-US" sz="18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t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8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黑盒测试技术</a:t>
                      </a:r>
                      <a:endParaRPr lang="en-US" altLang="en-US" sz="18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t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  <a:tr h="57658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8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完成目标：</a:t>
                      </a:r>
                      <a:endParaRPr lang="en-US" altLang="en-US" sz="18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t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8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完成报告文档下的验收验证标准</a:t>
                      </a:r>
                      <a:endParaRPr lang="en-US" altLang="en-US" sz="18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t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  <a:tr h="57658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8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涉及相关功能点：</a:t>
                      </a:r>
                      <a:endParaRPr lang="en-US" altLang="en-US" sz="1800" b="1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t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8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参照文档中的主要功能模块</a:t>
                      </a:r>
                      <a:endParaRPr lang="en-US" altLang="en-US" sz="18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t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  <p:sp>
        <p:nvSpPr>
          <p:cNvPr id="8" name="文本框 7"/>
          <p:cNvSpPr txBox="1"/>
          <p:nvPr/>
        </p:nvSpPr>
        <p:spPr>
          <a:xfrm>
            <a:off x="161290" y="4951730"/>
            <a:ext cx="303276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/>
              <a:t>3.2测试工具</a:t>
            </a:r>
            <a:endParaRPr lang="zh-CN" altLang="en-US"/>
          </a:p>
        </p:txBody>
      </p:sp>
      <p:sp>
        <p:nvSpPr>
          <p:cNvPr id="9" name="文本框 8"/>
          <p:cNvSpPr txBox="1"/>
          <p:nvPr/>
        </p:nvSpPr>
        <p:spPr>
          <a:xfrm>
            <a:off x="313690" y="5420360"/>
            <a:ext cx="8092440" cy="11988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/>
              <a:t>微信小程序性能测试Trace工具</a:t>
            </a:r>
            <a:endParaRPr lang="zh-CN" altLang="en-US"/>
          </a:p>
          <a:p>
            <a:endParaRPr lang="zh-CN" altLang="en-US"/>
          </a:p>
          <a:p>
            <a:r>
              <a:rPr lang="zh-CN" altLang="en-US"/>
              <a:t>微信开发者工具的调试器中Trace可实时监控小程序的性能，分析trace文件可获取内存、CPU、fps、启动时间、各函数的执行时间等。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5" grpId="1"/>
      <p:bldP spid="6" grpId="1"/>
      <p:bldP spid="8" grpId="0"/>
      <p:bldP spid="8" grpId="1"/>
      <p:bldP spid="9" grpId="0"/>
      <p:bldP spid="9" grpId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4" name="îṡlíḍe"/>
          <p:cNvSpPr/>
          <p:nvPr/>
        </p:nvSpPr>
        <p:spPr>
          <a:xfrm>
            <a:off x="669290" y="2207895"/>
            <a:ext cx="3087232" cy="162817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>
              <a:ea typeface="微软雅黑" panose="020B0503020204020204" pitchFamily="34" charset="-122"/>
            </a:endParaRPr>
          </a:p>
        </p:txBody>
      </p:sp>
      <p:sp>
        <p:nvSpPr>
          <p:cNvPr id="5" name="ïšḷiḑê"/>
          <p:cNvSpPr/>
          <p:nvPr/>
        </p:nvSpPr>
        <p:spPr bwMode="auto">
          <a:xfrm>
            <a:off x="1906765" y="2522811"/>
            <a:ext cx="410353" cy="461728"/>
          </a:xfrm>
          <a:custGeom>
            <a:avLst/>
            <a:gdLst>
              <a:gd name="T0" fmla="*/ 3497 w 9467"/>
              <a:gd name="T1" fmla="*/ 1130 h 10667"/>
              <a:gd name="T2" fmla="*/ 4604 w 9467"/>
              <a:gd name="T3" fmla="*/ 0 h 10667"/>
              <a:gd name="T4" fmla="*/ 5711 w 9467"/>
              <a:gd name="T5" fmla="*/ 1130 h 10667"/>
              <a:gd name="T6" fmla="*/ 4604 w 9467"/>
              <a:gd name="T7" fmla="*/ 2260 h 10667"/>
              <a:gd name="T8" fmla="*/ 3497 w 9467"/>
              <a:gd name="T9" fmla="*/ 1130 h 10667"/>
              <a:gd name="T10" fmla="*/ 9467 w 9467"/>
              <a:gd name="T11" fmla="*/ 9539 h 10667"/>
              <a:gd name="T12" fmla="*/ 4733 w 9467"/>
              <a:gd name="T13" fmla="*/ 10667 h 10667"/>
              <a:gd name="T14" fmla="*/ 0 w 9467"/>
              <a:gd name="T15" fmla="*/ 9539 h 10667"/>
              <a:gd name="T16" fmla="*/ 2800 w 9467"/>
              <a:gd name="T17" fmla="*/ 8515 h 10667"/>
              <a:gd name="T18" fmla="*/ 2767 w 9467"/>
              <a:gd name="T19" fmla="*/ 8821 h 10667"/>
              <a:gd name="T20" fmla="*/ 1988 w 9467"/>
              <a:gd name="T21" fmla="*/ 9270 h 10667"/>
              <a:gd name="T22" fmla="*/ 3251 w 9467"/>
              <a:gd name="T23" fmla="*/ 9818 h 10667"/>
              <a:gd name="T24" fmla="*/ 3646 w 9467"/>
              <a:gd name="T25" fmla="*/ 6257 h 10667"/>
              <a:gd name="T26" fmla="*/ 3653 w 9467"/>
              <a:gd name="T27" fmla="*/ 6121 h 10667"/>
              <a:gd name="T28" fmla="*/ 3607 w 9467"/>
              <a:gd name="T29" fmla="*/ 6133 h 10667"/>
              <a:gd name="T30" fmla="*/ 3376 w 9467"/>
              <a:gd name="T31" fmla="*/ 6062 h 10667"/>
              <a:gd name="T32" fmla="*/ 2445 w 9467"/>
              <a:gd name="T33" fmla="*/ 3934 h 10667"/>
              <a:gd name="T34" fmla="*/ 4502 w 9467"/>
              <a:gd name="T35" fmla="*/ 2379 h 10667"/>
              <a:gd name="T36" fmla="*/ 4506 w 9467"/>
              <a:gd name="T37" fmla="*/ 2379 h 10667"/>
              <a:gd name="T38" fmla="*/ 4196 w 9467"/>
              <a:gd name="T39" fmla="*/ 4919 h 10667"/>
              <a:gd name="T40" fmla="*/ 4605 w 9467"/>
              <a:gd name="T41" fmla="*/ 5334 h 10667"/>
              <a:gd name="T42" fmla="*/ 4963 w 9467"/>
              <a:gd name="T43" fmla="*/ 4919 h 10667"/>
              <a:gd name="T44" fmla="*/ 4718 w 9467"/>
              <a:gd name="T45" fmla="*/ 2377 h 10667"/>
              <a:gd name="T46" fmla="*/ 6619 w 9467"/>
              <a:gd name="T47" fmla="*/ 3552 h 10667"/>
              <a:gd name="T48" fmla="*/ 7114 w 9467"/>
              <a:gd name="T49" fmla="*/ 2497 h 10667"/>
              <a:gd name="T50" fmla="*/ 7158 w 9467"/>
              <a:gd name="T51" fmla="*/ 2339 h 10667"/>
              <a:gd name="T52" fmla="*/ 6834 w 9467"/>
              <a:gd name="T53" fmla="*/ 1702 h 10667"/>
              <a:gd name="T54" fmla="*/ 7360 w 9467"/>
              <a:gd name="T55" fmla="*/ 1440 h 10667"/>
              <a:gd name="T56" fmla="*/ 7017 w 9467"/>
              <a:gd name="T57" fmla="*/ 766 h 10667"/>
              <a:gd name="T58" fmla="*/ 7129 w 9467"/>
              <a:gd name="T59" fmla="*/ 710 h 10667"/>
              <a:gd name="T60" fmla="*/ 7472 w 9467"/>
              <a:gd name="T61" fmla="*/ 1385 h 10667"/>
              <a:gd name="T62" fmla="*/ 7617 w 9467"/>
              <a:gd name="T63" fmla="*/ 1669 h 10667"/>
              <a:gd name="T64" fmla="*/ 7641 w 9467"/>
              <a:gd name="T65" fmla="*/ 1717 h 10667"/>
              <a:gd name="T66" fmla="*/ 8199 w 9467"/>
              <a:gd name="T67" fmla="*/ 2813 h 10667"/>
              <a:gd name="T68" fmla="*/ 7810 w 9467"/>
              <a:gd name="T69" fmla="*/ 3005 h 10667"/>
              <a:gd name="T70" fmla="*/ 6666 w 9467"/>
              <a:gd name="T71" fmla="*/ 4549 h 10667"/>
              <a:gd name="T72" fmla="*/ 6546 w 9467"/>
              <a:gd name="T73" fmla="*/ 4563 h 10667"/>
              <a:gd name="T74" fmla="*/ 6080 w 9467"/>
              <a:gd name="T75" fmla="*/ 4261 h 10667"/>
              <a:gd name="T76" fmla="*/ 5482 w 9467"/>
              <a:gd name="T77" fmla="*/ 3487 h 10667"/>
              <a:gd name="T78" fmla="*/ 5697 w 9467"/>
              <a:gd name="T79" fmla="*/ 6115 h 10667"/>
              <a:gd name="T80" fmla="*/ 5695 w 9467"/>
              <a:gd name="T81" fmla="*/ 6126 h 10667"/>
              <a:gd name="T82" fmla="*/ 6302 w 9467"/>
              <a:gd name="T83" fmla="*/ 9792 h 10667"/>
              <a:gd name="T84" fmla="*/ 7422 w 9467"/>
              <a:gd name="T85" fmla="*/ 9270 h 10667"/>
              <a:gd name="T86" fmla="*/ 6753 w 9467"/>
              <a:gd name="T87" fmla="*/ 8849 h 10667"/>
              <a:gd name="T88" fmla="*/ 6694 w 9467"/>
              <a:gd name="T89" fmla="*/ 8516 h 10667"/>
              <a:gd name="T90" fmla="*/ 9467 w 9467"/>
              <a:gd name="T91" fmla="*/ 9539 h 10667"/>
              <a:gd name="T92" fmla="*/ 3699 w 9467"/>
              <a:gd name="T93" fmla="*/ 5275 h 10667"/>
              <a:gd name="T94" fmla="*/ 3795 w 9467"/>
              <a:gd name="T95" fmla="*/ 3464 h 10667"/>
              <a:gd name="T96" fmla="*/ 3183 w 9467"/>
              <a:gd name="T97" fmla="*/ 4286 h 10667"/>
              <a:gd name="T98" fmla="*/ 3699 w 9467"/>
              <a:gd name="T99" fmla="*/ 5275 h 10667"/>
              <a:gd name="T100" fmla="*/ 5283 w 9467"/>
              <a:gd name="T101" fmla="*/ 9903 h 10667"/>
              <a:gd name="T102" fmla="*/ 4677 w 9467"/>
              <a:gd name="T103" fmla="*/ 6245 h 10667"/>
              <a:gd name="T104" fmla="*/ 4270 w 9467"/>
              <a:gd name="T105" fmla="*/ 9910 h 10667"/>
              <a:gd name="T106" fmla="*/ 4705 w 9467"/>
              <a:gd name="T107" fmla="*/ 9919 h 10667"/>
              <a:gd name="T108" fmla="*/ 5283 w 9467"/>
              <a:gd name="T109" fmla="*/ 9903 h 10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9467" h="10667">
                <a:moveTo>
                  <a:pt x="3497" y="1130"/>
                </a:moveTo>
                <a:cubicBezTo>
                  <a:pt x="3497" y="506"/>
                  <a:pt x="3993" y="0"/>
                  <a:pt x="4604" y="0"/>
                </a:cubicBezTo>
                <a:cubicBezTo>
                  <a:pt x="5215" y="0"/>
                  <a:pt x="5711" y="506"/>
                  <a:pt x="5711" y="1130"/>
                </a:cubicBezTo>
                <a:cubicBezTo>
                  <a:pt x="5711" y="1755"/>
                  <a:pt x="5215" y="2260"/>
                  <a:pt x="4604" y="2260"/>
                </a:cubicBezTo>
                <a:cubicBezTo>
                  <a:pt x="3993" y="2260"/>
                  <a:pt x="3497" y="1755"/>
                  <a:pt x="3497" y="1130"/>
                </a:cubicBezTo>
                <a:close/>
                <a:moveTo>
                  <a:pt x="9467" y="9539"/>
                </a:moveTo>
                <a:cubicBezTo>
                  <a:pt x="9467" y="10161"/>
                  <a:pt x="7347" y="10667"/>
                  <a:pt x="4733" y="10667"/>
                </a:cubicBezTo>
                <a:cubicBezTo>
                  <a:pt x="2119" y="10667"/>
                  <a:pt x="0" y="10161"/>
                  <a:pt x="0" y="9539"/>
                </a:cubicBezTo>
                <a:cubicBezTo>
                  <a:pt x="0" y="9081"/>
                  <a:pt x="1155" y="8691"/>
                  <a:pt x="2800" y="8515"/>
                </a:cubicBezTo>
                <a:lnTo>
                  <a:pt x="2767" y="8821"/>
                </a:lnTo>
                <a:cubicBezTo>
                  <a:pt x="2287" y="8938"/>
                  <a:pt x="1988" y="9096"/>
                  <a:pt x="1988" y="9270"/>
                </a:cubicBezTo>
                <a:cubicBezTo>
                  <a:pt x="1988" y="9501"/>
                  <a:pt x="2493" y="9703"/>
                  <a:pt x="3251" y="9818"/>
                </a:cubicBezTo>
                <a:lnTo>
                  <a:pt x="3646" y="6257"/>
                </a:lnTo>
                <a:lnTo>
                  <a:pt x="3653" y="6121"/>
                </a:lnTo>
                <a:cubicBezTo>
                  <a:pt x="3637" y="6124"/>
                  <a:pt x="3623" y="6133"/>
                  <a:pt x="3607" y="6133"/>
                </a:cubicBezTo>
                <a:cubicBezTo>
                  <a:pt x="3527" y="6133"/>
                  <a:pt x="3446" y="6110"/>
                  <a:pt x="3376" y="6062"/>
                </a:cubicBezTo>
                <a:cubicBezTo>
                  <a:pt x="2867" y="5717"/>
                  <a:pt x="2110" y="4619"/>
                  <a:pt x="2445" y="3934"/>
                </a:cubicBezTo>
                <a:cubicBezTo>
                  <a:pt x="3162" y="2467"/>
                  <a:pt x="4188" y="2372"/>
                  <a:pt x="4502" y="2379"/>
                </a:cubicBezTo>
                <a:cubicBezTo>
                  <a:pt x="4503" y="2379"/>
                  <a:pt x="4505" y="2379"/>
                  <a:pt x="4506" y="2379"/>
                </a:cubicBezTo>
                <a:lnTo>
                  <a:pt x="4196" y="4919"/>
                </a:lnTo>
                <a:lnTo>
                  <a:pt x="4605" y="5334"/>
                </a:lnTo>
                <a:lnTo>
                  <a:pt x="4963" y="4919"/>
                </a:lnTo>
                <a:lnTo>
                  <a:pt x="4718" y="2377"/>
                </a:lnTo>
                <a:cubicBezTo>
                  <a:pt x="5130" y="2393"/>
                  <a:pt x="5983" y="2555"/>
                  <a:pt x="6619" y="3552"/>
                </a:cubicBezTo>
                <a:cubicBezTo>
                  <a:pt x="6837" y="3225"/>
                  <a:pt x="7102" y="2671"/>
                  <a:pt x="7114" y="2497"/>
                </a:cubicBezTo>
                <a:cubicBezTo>
                  <a:pt x="7118" y="2441"/>
                  <a:pt x="7134" y="2388"/>
                  <a:pt x="7158" y="2339"/>
                </a:cubicBezTo>
                <a:lnTo>
                  <a:pt x="6834" y="1702"/>
                </a:lnTo>
                <a:lnTo>
                  <a:pt x="7360" y="1440"/>
                </a:lnTo>
                <a:lnTo>
                  <a:pt x="7017" y="766"/>
                </a:lnTo>
                <a:lnTo>
                  <a:pt x="7129" y="710"/>
                </a:lnTo>
                <a:lnTo>
                  <a:pt x="7472" y="1385"/>
                </a:lnTo>
                <a:lnTo>
                  <a:pt x="7617" y="1669"/>
                </a:lnTo>
                <a:lnTo>
                  <a:pt x="7641" y="1717"/>
                </a:lnTo>
                <a:lnTo>
                  <a:pt x="8199" y="2813"/>
                </a:lnTo>
                <a:lnTo>
                  <a:pt x="7810" y="3005"/>
                </a:lnTo>
                <a:cubicBezTo>
                  <a:pt x="7589" y="3609"/>
                  <a:pt x="7106" y="4450"/>
                  <a:pt x="6666" y="4549"/>
                </a:cubicBezTo>
                <a:cubicBezTo>
                  <a:pt x="6625" y="4559"/>
                  <a:pt x="6585" y="4563"/>
                  <a:pt x="6546" y="4563"/>
                </a:cubicBezTo>
                <a:cubicBezTo>
                  <a:pt x="6349" y="4563"/>
                  <a:pt x="6174" y="4452"/>
                  <a:pt x="6080" y="4261"/>
                </a:cubicBezTo>
                <a:cubicBezTo>
                  <a:pt x="5899" y="3891"/>
                  <a:pt x="5688" y="3647"/>
                  <a:pt x="5482" y="3487"/>
                </a:cubicBezTo>
                <a:lnTo>
                  <a:pt x="5697" y="6115"/>
                </a:lnTo>
                <a:cubicBezTo>
                  <a:pt x="5697" y="6119"/>
                  <a:pt x="5695" y="6121"/>
                  <a:pt x="5695" y="6126"/>
                </a:cubicBezTo>
                <a:lnTo>
                  <a:pt x="6302" y="9792"/>
                </a:lnTo>
                <a:cubicBezTo>
                  <a:pt x="6977" y="9674"/>
                  <a:pt x="7422" y="9485"/>
                  <a:pt x="7422" y="9270"/>
                </a:cubicBezTo>
                <a:cubicBezTo>
                  <a:pt x="7422" y="9110"/>
                  <a:pt x="7167" y="8962"/>
                  <a:pt x="6753" y="8849"/>
                </a:cubicBezTo>
                <a:lnTo>
                  <a:pt x="6694" y="8516"/>
                </a:lnTo>
                <a:cubicBezTo>
                  <a:pt x="8325" y="8694"/>
                  <a:pt x="9467" y="9083"/>
                  <a:pt x="9467" y="9539"/>
                </a:cubicBezTo>
                <a:close/>
                <a:moveTo>
                  <a:pt x="3699" y="5275"/>
                </a:moveTo>
                <a:lnTo>
                  <a:pt x="3795" y="3464"/>
                </a:lnTo>
                <a:cubicBezTo>
                  <a:pt x="3596" y="3626"/>
                  <a:pt x="3380" y="3880"/>
                  <a:pt x="3183" y="4286"/>
                </a:cubicBezTo>
                <a:cubicBezTo>
                  <a:pt x="3123" y="4441"/>
                  <a:pt x="3399" y="4981"/>
                  <a:pt x="3699" y="5275"/>
                </a:cubicBezTo>
                <a:close/>
                <a:moveTo>
                  <a:pt x="5283" y="9903"/>
                </a:moveTo>
                <a:lnTo>
                  <a:pt x="4677" y="6245"/>
                </a:lnTo>
                <a:lnTo>
                  <a:pt x="4270" y="9910"/>
                </a:lnTo>
                <a:cubicBezTo>
                  <a:pt x="4412" y="9916"/>
                  <a:pt x="4557" y="9919"/>
                  <a:pt x="4705" y="9919"/>
                </a:cubicBezTo>
                <a:cubicBezTo>
                  <a:pt x="4905" y="9919"/>
                  <a:pt x="5097" y="9913"/>
                  <a:pt x="5283" y="990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zh-CN" altLang="en-US">
              <a:ea typeface="微软雅黑" panose="020B0503020204020204" pitchFamily="34" charset="-122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518285" y="3106420"/>
            <a:ext cx="1389380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b="1" i="1" dirty="0">
                <a:solidFill>
                  <a:schemeClr val="bg1"/>
                </a:solidFill>
                <a:ea typeface="微软雅黑" panose="020B0503020204020204" pitchFamily="34" charset="-122"/>
                <a:sym typeface="+mn-ea"/>
              </a:rPr>
              <a:t>过程体会</a:t>
            </a:r>
            <a:endParaRPr lang="zh-CN" altLang="en-US" b="1" i="1" dirty="0">
              <a:solidFill>
                <a:schemeClr val="bg1"/>
              </a:solidFill>
              <a:ea typeface="微软雅黑" panose="020B0503020204020204" pitchFamily="34" charset="-122"/>
            </a:endParaRPr>
          </a:p>
          <a:p>
            <a:endParaRPr lang="zh-CN" altLang="en-US"/>
          </a:p>
        </p:txBody>
      </p:sp>
      <p:sp>
        <p:nvSpPr>
          <p:cNvPr id="25" name="文本框 24"/>
          <p:cNvSpPr txBox="1"/>
          <p:nvPr/>
        </p:nvSpPr>
        <p:spPr>
          <a:xfrm>
            <a:off x="1291590" y="367030"/>
            <a:ext cx="2789555" cy="11988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dirty="0" smtClean="0">
                <a:ea typeface="微软雅黑" panose="020B0503020204020204" pitchFamily="34" charset="-122"/>
                <a:sym typeface="+mn-ea"/>
              </a:rPr>
              <a:t>已经不喜欢周六了，每到周六就感觉有一堆事要做了。与队友之间的沟通让我感到挺快乐</a:t>
            </a:r>
            <a:endParaRPr dirty="0" smtClean="0">
              <a:ea typeface="微软雅黑" panose="020B0503020204020204" pitchFamily="34" charset="-122"/>
              <a:sym typeface="+mn-ea"/>
            </a:endParaRPr>
          </a:p>
        </p:txBody>
      </p:sp>
      <p:pic>
        <p:nvPicPr>
          <p:cNvPr id="3" name="图片 2" descr="animals-6392056 (1)_副本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33070" y="263525"/>
            <a:ext cx="858520" cy="858520"/>
          </a:xfrm>
          <a:prstGeom prst="rect">
            <a:avLst/>
          </a:prstGeom>
        </p:spPr>
      </p:pic>
      <p:sp>
        <p:nvSpPr>
          <p:cNvPr id="27" name="文本框 26"/>
          <p:cNvSpPr txBox="1"/>
          <p:nvPr/>
        </p:nvSpPr>
        <p:spPr>
          <a:xfrm>
            <a:off x="1291590" y="5153025"/>
            <a:ext cx="2272030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dirty="0" smtClean="0">
                <a:ea typeface="微软雅黑" panose="020B0503020204020204" pitchFamily="34" charset="-122"/>
                <a:sym typeface="+mn-ea"/>
              </a:rPr>
              <a:t>团队沟通很重要。协调能力还有待提升</a:t>
            </a:r>
            <a:endParaRPr lang="zh-CN" dirty="0" smtClean="0">
              <a:ea typeface="微软雅黑" panose="020B0503020204020204" pitchFamily="34" charset="-122"/>
              <a:sym typeface="+mn-ea"/>
            </a:endParaRPr>
          </a:p>
        </p:txBody>
      </p:sp>
      <p:pic>
        <p:nvPicPr>
          <p:cNvPr id="6" name="图片 5" descr="animals-6392056 (1)_副本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1955" y="4763135"/>
            <a:ext cx="889635" cy="889635"/>
          </a:xfrm>
          <a:prstGeom prst="rect">
            <a:avLst/>
          </a:prstGeom>
        </p:spPr>
      </p:pic>
      <p:sp>
        <p:nvSpPr>
          <p:cNvPr id="9" name="íṩḷide"/>
          <p:cNvSpPr txBox="1"/>
          <p:nvPr/>
        </p:nvSpPr>
        <p:spPr>
          <a:xfrm>
            <a:off x="4972050" y="366968"/>
            <a:ext cx="3187700" cy="725188"/>
          </a:xfrm>
          <a:prstGeom prst="rect">
            <a:avLst/>
          </a:prstGeom>
          <a:noFill/>
        </p:spPr>
        <p:txBody>
          <a:bodyPr wrap="square" lIns="91440" tIns="45720" rIns="91440" bIns="4572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dirty="0" smtClean="0">
                <a:ea typeface="微软雅黑" panose="020B0503020204020204" pitchFamily="34" charset="-122"/>
              </a:rPr>
              <a:t>感觉做起来有点艰难，遇到的很多问题都要现场去搜索学习</a:t>
            </a:r>
            <a:endParaRPr dirty="0" smtClean="0">
              <a:ea typeface="微软雅黑" panose="020B0503020204020204" pitchFamily="34" charset="-122"/>
            </a:endParaRPr>
          </a:p>
        </p:txBody>
      </p:sp>
      <p:pic>
        <p:nvPicPr>
          <p:cNvPr id="7" name="图片 6" descr="animals-6392056 (1)_副本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1145" y="263525"/>
            <a:ext cx="890905" cy="890905"/>
          </a:xfrm>
          <a:prstGeom prst="rect">
            <a:avLst/>
          </a:prstGeom>
        </p:spPr>
      </p:pic>
      <p:sp>
        <p:nvSpPr>
          <p:cNvPr id="14" name="ïsḷïďe"/>
          <p:cNvSpPr txBox="1"/>
          <p:nvPr/>
        </p:nvSpPr>
        <p:spPr>
          <a:xfrm>
            <a:off x="4972050" y="2280285"/>
            <a:ext cx="3187065" cy="725170"/>
          </a:xfrm>
          <a:prstGeom prst="rect">
            <a:avLst/>
          </a:prstGeom>
          <a:noFill/>
        </p:spPr>
        <p:txBody>
          <a:bodyPr wrap="square" lIns="91440" tIns="45720" rIns="91440" bIns="4572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dirty="0" smtClean="0">
                <a:ea typeface="微软雅黑" panose="020B0503020204020204" pitchFamily="34" charset="-122"/>
              </a:rPr>
              <a:t>抗压能力大大提升，我很喜欢(TT)</a:t>
            </a:r>
            <a:endParaRPr dirty="0" smtClean="0">
              <a:ea typeface="微软雅黑" panose="020B0503020204020204" pitchFamily="34" charset="-122"/>
            </a:endParaRPr>
          </a:p>
        </p:txBody>
      </p:sp>
      <p:pic>
        <p:nvPicPr>
          <p:cNvPr id="10" name="图片 9" descr="animals-6392056 (1)_副本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81145" y="2101850"/>
            <a:ext cx="882650" cy="882650"/>
          </a:xfrm>
          <a:prstGeom prst="rect">
            <a:avLst/>
          </a:prstGeom>
        </p:spPr>
      </p:pic>
      <p:sp>
        <p:nvSpPr>
          <p:cNvPr id="18" name="ï$ḷîḑê"/>
          <p:cNvSpPr txBox="1"/>
          <p:nvPr/>
        </p:nvSpPr>
        <p:spPr>
          <a:xfrm>
            <a:off x="4972050" y="3693931"/>
            <a:ext cx="3187700" cy="725188"/>
          </a:xfrm>
          <a:prstGeom prst="rect">
            <a:avLst/>
          </a:prstGeom>
          <a:noFill/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dirty="0" smtClean="0">
                <a:ea typeface="微软雅黑" panose="020B0503020204020204" pitchFamily="34" charset="-122"/>
                <a:sym typeface="+mn-ea"/>
              </a:rPr>
              <a:t>感觉</a:t>
            </a:r>
            <a:r>
              <a:rPr lang="zh-CN" dirty="0" smtClean="0">
                <a:ea typeface="微软雅黑" panose="020B0503020204020204" pitchFamily="34" charset="-122"/>
                <a:sym typeface="+mn-ea"/>
              </a:rPr>
              <a:t>有些</a:t>
            </a:r>
            <a:r>
              <a:rPr dirty="0" smtClean="0">
                <a:ea typeface="微软雅黑" panose="020B0503020204020204" pitchFamily="34" charset="-122"/>
                <a:sym typeface="+mn-ea"/>
              </a:rPr>
              <a:t>无从下手</a:t>
            </a:r>
            <a:endParaRPr dirty="0" smtClean="0"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30" name="文本框 29"/>
          <p:cNvSpPr txBox="1"/>
          <p:nvPr/>
        </p:nvSpPr>
        <p:spPr>
          <a:xfrm>
            <a:off x="5066030" y="5153025"/>
            <a:ext cx="3040380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dirty="0" smtClean="0">
                <a:ea typeface="微软雅黑" panose="020B0503020204020204" pitchFamily="34" charset="-122"/>
                <a:sym typeface="+mn-ea"/>
              </a:rPr>
              <a:t>感觉脑子里面多了很多奇奇怪怪的</a:t>
            </a:r>
            <a:r>
              <a:rPr lang="zh-CN" dirty="0" smtClean="0">
                <a:ea typeface="微软雅黑" panose="020B0503020204020204" pitchFamily="34" charset="-122"/>
                <a:sym typeface="+mn-ea"/>
              </a:rPr>
              <a:t>东西</a:t>
            </a:r>
            <a:endParaRPr lang="zh-CN" dirty="0" smtClean="0">
              <a:ea typeface="微软雅黑" panose="020B0503020204020204" pitchFamily="34" charset="-122"/>
              <a:sym typeface="+mn-ea"/>
            </a:endParaRPr>
          </a:p>
        </p:txBody>
      </p:sp>
      <p:pic>
        <p:nvPicPr>
          <p:cNvPr id="12" name="图片 11" descr="animals-6392056 (1)_副本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33850" y="4845685"/>
            <a:ext cx="838200" cy="838200"/>
          </a:xfrm>
          <a:prstGeom prst="rect">
            <a:avLst/>
          </a:prstGeom>
        </p:spPr>
      </p:pic>
      <p:pic>
        <p:nvPicPr>
          <p:cNvPr id="15" name="图片 14" descr="animals-6392056 (1)_副本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18610" y="3491230"/>
            <a:ext cx="868680" cy="868680"/>
          </a:xfrm>
          <a:prstGeom prst="rect">
            <a:avLst/>
          </a:prstGeom>
        </p:spPr>
      </p:pic>
      <p:sp>
        <p:nvSpPr>
          <p:cNvPr id="16" name="íṧ1iḑe"/>
          <p:cNvSpPr txBox="1"/>
          <p:nvPr/>
        </p:nvSpPr>
        <p:spPr>
          <a:xfrm>
            <a:off x="9121140" y="330200"/>
            <a:ext cx="2843530" cy="725170"/>
          </a:xfrm>
          <a:prstGeom prst="rect">
            <a:avLst/>
          </a:prstGeom>
          <a:noFill/>
        </p:spPr>
        <p:txBody>
          <a:bodyPr wrap="square" lIns="91440" tIns="45720" rIns="91440" bIns="45720" anchor="t" anchorCtr="0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dirty="0" smtClean="0">
                <a:ea typeface="微软雅黑" panose="020B0503020204020204" pitchFamily="34" charset="-122"/>
              </a:rPr>
              <a:t>在各种因素不断学习进步</a:t>
            </a:r>
            <a:endParaRPr lang="en-US" altLang="zh-CN" dirty="0">
              <a:ea typeface="微软雅黑" panose="020B0503020204020204" pitchFamily="34" charset="-122"/>
            </a:endParaRPr>
          </a:p>
        </p:txBody>
      </p:sp>
      <p:pic>
        <p:nvPicPr>
          <p:cNvPr id="17" name="图片 16" descr="animals-5636908_1920_副本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59750" y="263525"/>
            <a:ext cx="873125" cy="873125"/>
          </a:xfrm>
          <a:prstGeom prst="rect">
            <a:avLst/>
          </a:prstGeom>
        </p:spPr>
      </p:pic>
      <p:pic>
        <p:nvPicPr>
          <p:cNvPr id="19" name="图片 18" descr="animals-5636908_1920_副本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167370" y="1805305"/>
            <a:ext cx="897255" cy="897255"/>
          </a:xfrm>
          <a:prstGeom prst="rect">
            <a:avLst/>
          </a:prstGeom>
        </p:spPr>
      </p:pic>
      <p:sp>
        <p:nvSpPr>
          <p:cNvPr id="20" name="íṧ1iḑe"/>
          <p:cNvSpPr txBox="1"/>
          <p:nvPr/>
        </p:nvSpPr>
        <p:spPr>
          <a:xfrm>
            <a:off x="9187180" y="1891030"/>
            <a:ext cx="2843530" cy="1094105"/>
          </a:xfrm>
          <a:prstGeom prst="rect">
            <a:avLst/>
          </a:prstGeom>
          <a:noFill/>
        </p:spPr>
        <p:txBody>
          <a:bodyPr wrap="square" lIns="91440" tIns="45720" rIns="91440" bIns="45720" anchor="t" anchorCtr="0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dirty="0" smtClean="0">
                <a:ea typeface="微软雅黑" panose="020B0503020204020204" pitchFamily="34" charset="-122"/>
              </a:rPr>
              <a:t>时间有点紧，对自学能力要求比较高，得逼自己一把</a:t>
            </a:r>
            <a:endParaRPr dirty="0" smtClean="0">
              <a:ea typeface="微软雅黑" panose="020B0503020204020204" pitchFamily="34" charset="-122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9187180" y="3467735"/>
            <a:ext cx="304038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dirty="0" smtClean="0">
                <a:ea typeface="微软雅黑" panose="020B0503020204020204" pitchFamily="34" charset="-122"/>
                <a:sym typeface="+mn-ea"/>
              </a:rPr>
              <a:t>艰难并且</a:t>
            </a:r>
            <a:r>
              <a:rPr lang="zh-CN" dirty="0" smtClean="0">
                <a:ea typeface="微软雅黑" panose="020B0503020204020204" pitchFamily="34" charset="-122"/>
                <a:sym typeface="+mn-ea"/>
              </a:rPr>
              <a:t>快乐</a:t>
            </a:r>
            <a:endParaRPr lang="zh-CN" dirty="0" smtClean="0">
              <a:ea typeface="微软雅黑" panose="020B0503020204020204" pitchFamily="34" charset="-122"/>
              <a:sym typeface="+mn-ea"/>
            </a:endParaRPr>
          </a:p>
        </p:txBody>
      </p:sp>
      <p:pic>
        <p:nvPicPr>
          <p:cNvPr id="11" name="图片 10" descr="animals-5636908_1920_副本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281035" y="3260090"/>
            <a:ext cx="845185" cy="845185"/>
          </a:xfrm>
          <a:prstGeom prst="rect">
            <a:avLst/>
          </a:prstGeom>
        </p:spPr>
      </p:pic>
      <p:sp>
        <p:nvSpPr>
          <p:cNvPr id="13" name="文本框 12"/>
          <p:cNvSpPr txBox="1"/>
          <p:nvPr/>
        </p:nvSpPr>
        <p:spPr>
          <a:xfrm>
            <a:off x="9187180" y="4845685"/>
            <a:ext cx="2843530" cy="17532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dirty="0" smtClean="0">
                <a:ea typeface="微软雅黑" panose="020B0503020204020204" pitchFamily="34" charset="-122"/>
                <a:sym typeface="+mn-ea"/>
              </a:rPr>
              <a:t>在一个工作环境中，在完成自己工作任务的同时，也会尽自己所能去帮助身边的同学，而绝不是只顾做好自己手头的工作而忘了自己是团队的一分子</a:t>
            </a:r>
            <a:endParaRPr lang="zh-CN" dirty="0" smtClean="0">
              <a:ea typeface="微软雅黑" panose="020B0503020204020204" pitchFamily="34" charset="-122"/>
              <a:sym typeface="+mn-ea"/>
            </a:endParaRPr>
          </a:p>
        </p:txBody>
      </p:sp>
      <p:pic>
        <p:nvPicPr>
          <p:cNvPr id="21" name="图片 20" descr="animals-5636908_1920_副本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281035" y="4916805"/>
            <a:ext cx="840105" cy="84010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8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  <p:bldP spid="25" grpId="1"/>
      <p:bldP spid="27" grpId="0"/>
      <p:bldP spid="27" grpId="1"/>
      <p:bldP spid="9" grpId="0"/>
      <p:bldP spid="9" grpId="1"/>
      <p:bldP spid="14" grpId="0"/>
      <p:bldP spid="14" grpId="1"/>
      <p:bldP spid="18" grpId="0"/>
      <p:bldP spid="18" grpId="1"/>
      <p:bldP spid="30" grpId="0"/>
      <p:bldP spid="30" grpId="1"/>
      <p:bldP spid="16" grpId="0"/>
      <p:bldP spid="16" grpId="1"/>
      <p:bldP spid="20" grpId="0"/>
      <p:bldP spid="20" grpId="1"/>
      <p:bldP spid="8" grpId="0"/>
      <p:bldP spid="8" grpId="1"/>
      <p:bldP spid="13" grpId="0"/>
      <p:bldP spid="13" grpId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4" name="îsļíḋê"/>
          <p:cNvSpPr/>
          <p:nvPr/>
        </p:nvSpPr>
        <p:spPr bwMode="auto">
          <a:xfrm>
            <a:off x="1358900" y="1130300"/>
            <a:ext cx="10160000" cy="13843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>
            <a:solidFill>
              <a:schemeClr val="tx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0" tIns="0" rIns="0" bIns="0" anchor="ctr">
            <a:normAutofit/>
          </a:bodyPr>
          <a:p>
            <a:pPr algn="ctr"/>
            <a:endParaRPr lang="zh-CN" altLang="en-US" dirty="0">
              <a:ea typeface="微软雅黑" panose="020B0503020204020204" pitchFamily="34" charset="-122"/>
            </a:endParaRPr>
          </a:p>
        </p:txBody>
      </p:sp>
      <p:sp>
        <p:nvSpPr>
          <p:cNvPr id="5" name="i$ļîḍe"/>
          <p:cNvSpPr/>
          <p:nvPr/>
        </p:nvSpPr>
        <p:spPr>
          <a:xfrm>
            <a:off x="677888" y="1130300"/>
            <a:ext cx="1353095" cy="1353700"/>
          </a:xfrm>
          <a:prstGeom prst="flowChartMagneticTape">
            <a:avLst/>
          </a:prstGeom>
          <a:blipFill>
            <a:blip r:embed="rId1"/>
            <a:srcRect/>
            <a:stretch>
              <a:fillRect t="-25230" b="-24762"/>
            </a:stretch>
          </a:blipFill>
          <a:ln w="571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p>
            <a:pPr algn="ctr"/>
            <a:endParaRPr>
              <a:ea typeface="微软雅黑" panose="020B0503020204020204" pitchFamily="34" charset="-122"/>
            </a:endParaRPr>
          </a:p>
        </p:txBody>
      </p:sp>
      <p:sp>
        <p:nvSpPr>
          <p:cNvPr id="19" name="îSḻïdè"/>
          <p:cNvSpPr txBox="1"/>
          <p:nvPr/>
        </p:nvSpPr>
        <p:spPr>
          <a:xfrm>
            <a:off x="2215291" y="1130300"/>
            <a:ext cx="9305290" cy="1384300"/>
          </a:xfrm>
          <a:prstGeom prst="rect">
            <a:avLst/>
          </a:prstGeom>
          <a:noFill/>
          <a:ln>
            <a:noFill/>
          </a:ln>
        </p:spPr>
        <p:txBody>
          <a:bodyPr lIns="91440" tIns="45720" rIns="91440" bIns="45720" anchor="ctr" anchorCtr="0">
            <a:noAutofit/>
          </a:bodyPr>
          <a:p>
            <a:pPr indent="0" defTabSz="914400">
              <a:lnSpc>
                <a:spcPct val="150000"/>
              </a:lnSpc>
              <a:buClr>
                <a:schemeClr val="tx1"/>
              </a:buClr>
              <a:buSzPct val="100000"/>
              <a:buFont typeface="Arial" panose="020B0604020202020204" pitchFamily="34" charset="0"/>
              <a:buNone/>
            </a:pPr>
            <a:r>
              <a:rPr lang="zh-CN" altLang="en-US" dirty="0" smtClean="0">
                <a:ea typeface="微软雅黑" panose="020B0503020204020204" pitchFamily="34" charset="-122"/>
              </a:rPr>
              <a:t>问题：</a:t>
            </a:r>
            <a:r>
              <a:rPr lang="en-US" altLang="zh-CN" dirty="0">
                <a:ea typeface="微软雅黑" panose="020B0503020204020204" pitchFamily="34" charset="-122"/>
              </a:rPr>
              <a:t>历史记录功能进行数据传递时，导致数据不可用的问题</a:t>
            </a:r>
            <a:endParaRPr lang="en-US" altLang="zh-CN" dirty="0">
              <a:ea typeface="微软雅黑" panose="020B0503020204020204" pitchFamily="34" charset="-122"/>
            </a:endParaRPr>
          </a:p>
          <a:p>
            <a:pPr indent="0" defTabSz="914400">
              <a:lnSpc>
                <a:spcPct val="150000"/>
              </a:lnSpc>
              <a:buClr>
                <a:schemeClr val="tx1"/>
              </a:buClr>
              <a:buSzPct val="100000"/>
              <a:buFont typeface="Arial" panose="020B0604020202020204" pitchFamily="34" charset="0"/>
              <a:buNone/>
            </a:pPr>
            <a:r>
              <a:rPr lang="zh-CN" altLang="en-US" dirty="0">
                <a:ea typeface="微软雅黑" panose="020B0503020204020204" pitchFamily="34" charset="-122"/>
              </a:rPr>
              <a:t>解决：暂时还没解决</a:t>
            </a:r>
            <a:endParaRPr lang="zh-CN" altLang="en-US" dirty="0">
              <a:ea typeface="微软雅黑" panose="020B0503020204020204" pitchFamily="34" charset="-122"/>
            </a:endParaRPr>
          </a:p>
        </p:txBody>
      </p:sp>
      <p:sp>
        <p:nvSpPr>
          <p:cNvPr id="6" name="íśḻidè"/>
          <p:cNvSpPr/>
          <p:nvPr/>
        </p:nvSpPr>
        <p:spPr bwMode="auto">
          <a:xfrm>
            <a:off x="673100" y="2946400"/>
            <a:ext cx="10160000" cy="13843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>
            <a:solidFill>
              <a:schemeClr val="tx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0" tIns="0" rIns="0" bIns="0" anchor="ctr">
            <a:normAutofit/>
          </a:bodyPr>
          <a:p>
            <a:pPr algn="ctr"/>
            <a:endParaRPr lang="zh-CN" altLang="en-US" dirty="0">
              <a:ea typeface="微软雅黑" panose="020B0503020204020204" pitchFamily="34" charset="-122"/>
            </a:endParaRPr>
          </a:p>
        </p:txBody>
      </p:sp>
      <p:sp>
        <p:nvSpPr>
          <p:cNvPr id="8" name="íṥlïḍé"/>
          <p:cNvSpPr/>
          <p:nvPr/>
        </p:nvSpPr>
        <p:spPr bwMode="auto">
          <a:xfrm>
            <a:off x="10165805" y="2946400"/>
            <a:ext cx="1353095" cy="1353700"/>
          </a:xfrm>
          <a:custGeom>
            <a:avLst/>
            <a:gdLst>
              <a:gd name="T0" fmla="*/ 1144 w 2288"/>
              <a:gd name="T1" fmla="*/ 2272 h 2272"/>
              <a:gd name="T2" fmla="*/ 2288 w 2288"/>
              <a:gd name="T3" fmla="*/ 1136 h 2272"/>
              <a:gd name="T4" fmla="*/ 1144 w 2288"/>
              <a:gd name="T5" fmla="*/ 0 h 2272"/>
              <a:gd name="T6" fmla="*/ 0 w 2288"/>
              <a:gd name="T7" fmla="*/ 1136 h 2272"/>
              <a:gd name="T8" fmla="*/ 336 w 2288"/>
              <a:gd name="T9" fmla="*/ 1940 h 2272"/>
              <a:gd name="T10" fmla="*/ 0 w 2288"/>
              <a:gd name="T11" fmla="*/ 1940 h 2272"/>
              <a:gd name="T12" fmla="*/ 0 w 2288"/>
              <a:gd name="T13" fmla="*/ 2272 h 2272"/>
              <a:gd name="T14" fmla="*/ 1144 w 2288"/>
              <a:gd name="T15" fmla="*/ 2272 h 22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288" h="2272">
                <a:moveTo>
                  <a:pt x="1144" y="2272"/>
                </a:moveTo>
                <a:cubicBezTo>
                  <a:pt x="1776" y="2272"/>
                  <a:pt x="2288" y="1764"/>
                  <a:pt x="2288" y="1136"/>
                </a:cubicBezTo>
                <a:cubicBezTo>
                  <a:pt x="2288" y="509"/>
                  <a:pt x="1776" y="0"/>
                  <a:pt x="1144" y="0"/>
                </a:cubicBezTo>
                <a:cubicBezTo>
                  <a:pt x="513" y="0"/>
                  <a:pt x="0" y="509"/>
                  <a:pt x="0" y="1136"/>
                </a:cubicBezTo>
                <a:cubicBezTo>
                  <a:pt x="0" y="1438"/>
                  <a:pt x="121" y="1727"/>
                  <a:pt x="336" y="1940"/>
                </a:cubicBezTo>
                <a:lnTo>
                  <a:pt x="0" y="1940"/>
                </a:lnTo>
                <a:lnTo>
                  <a:pt x="0" y="2272"/>
                </a:lnTo>
                <a:lnTo>
                  <a:pt x="1144" y="2272"/>
                </a:lnTo>
                <a:close/>
              </a:path>
            </a:pathLst>
          </a:custGeom>
          <a:blipFill>
            <a:blip r:embed="rId2"/>
            <a:srcRect/>
            <a:stretch>
              <a:fillRect l="-23258" r="-22825"/>
            </a:stretch>
          </a:blipFill>
          <a:ln w="571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p>
            <a:pPr algn="ctr"/>
            <a:endParaRPr lang="zh-CN" altLang="en-US">
              <a:solidFill>
                <a:schemeClr val="lt1"/>
              </a:solidFill>
              <a:ea typeface="微软雅黑" panose="020B0503020204020204" pitchFamily="34" charset="-122"/>
            </a:endParaRPr>
          </a:p>
        </p:txBody>
      </p:sp>
      <p:sp>
        <p:nvSpPr>
          <p:cNvPr id="11" name="î$ḷïḑe"/>
          <p:cNvSpPr txBox="1"/>
          <p:nvPr/>
        </p:nvSpPr>
        <p:spPr>
          <a:xfrm>
            <a:off x="759460" y="2943225"/>
            <a:ext cx="9071610" cy="1384300"/>
          </a:xfrm>
          <a:prstGeom prst="rect">
            <a:avLst/>
          </a:prstGeom>
          <a:noFill/>
          <a:ln>
            <a:noFill/>
          </a:ln>
        </p:spPr>
        <p:txBody>
          <a:bodyPr lIns="91440" tIns="45720" rIns="91440" bIns="45720" anchor="ctr" anchorCtr="0">
            <a:noAutofit/>
          </a:bodyPr>
          <a:p>
            <a:pPr indent="0" defTabSz="914400">
              <a:lnSpc>
                <a:spcPct val="150000"/>
              </a:lnSpc>
              <a:buClr>
                <a:schemeClr val="tx1"/>
              </a:buClr>
              <a:buSzPct val="100000"/>
              <a:buFont typeface="Arial" panose="020B0604020202020204" pitchFamily="34" charset="0"/>
              <a:buNone/>
            </a:pPr>
            <a:r>
              <a:rPr lang="zh-CN" altLang="en-US" dirty="0">
                <a:ea typeface="微软雅黑" panose="020B0503020204020204" pitchFamily="34" charset="-122"/>
              </a:rPr>
              <a:t>问题：分配工作进度难度不同，有出现做重复工的情况</a:t>
            </a:r>
            <a:endParaRPr lang="zh-CN" altLang="en-US" dirty="0">
              <a:ea typeface="微软雅黑" panose="020B0503020204020204" pitchFamily="34" charset="-122"/>
            </a:endParaRPr>
          </a:p>
          <a:p>
            <a:pPr indent="0" defTabSz="914400">
              <a:lnSpc>
                <a:spcPct val="150000"/>
              </a:lnSpc>
              <a:buClr>
                <a:schemeClr val="tx1"/>
              </a:buClr>
              <a:buSzPct val="100000"/>
              <a:buFont typeface="Arial" panose="020B0604020202020204" pitchFamily="34" charset="0"/>
              <a:buNone/>
            </a:pPr>
            <a:r>
              <a:rPr lang="zh-CN" altLang="en-US" dirty="0">
                <a:ea typeface="微软雅黑" panose="020B0503020204020204" pitchFamily="34" charset="-122"/>
              </a:rPr>
              <a:t>决绝：在后期及时调整沟通加快了项目实现效率</a:t>
            </a:r>
            <a:endParaRPr lang="zh-CN" altLang="en-US" dirty="0">
              <a:ea typeface="微软雅黑" panose="020B0503020204020204" pitchFamily="34" charset="-122"/>
            </a:endParaRPr>
          </a:p>
        </p:txBody>
      </p:sp>
      <p:sp>
        <p:nvSpPr>
          <p:cNvPr id="20" name="ïṡḷíḍé"/>
          <p:cNvSpPr/>
          <p:nvPr/>
        </p:nvSpPr>
        <p:spPr bwMode="auto">
          <a:xfrm>
            <a:off x="1358900" y="4762500"/>
            <a:ext cx="10160000" cy="13843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>
            <a:solidFill>
              <a:schemeClr val="tx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0" tIns="0" rIns="0" bIns="0" anchor="ctr">
            <a:normAutofit/>
          </a:bodyPr>
          <a:p>
            <a:pPr algn="ctr"/>
            <a:endParaRPr lang="zh-CN" altLang="en-US" dirty="0">
              <a:ea typeface="微软雅黑" panose="020B0503020204020204" pitchFamily="34" charset="-122"/>
            </a:endParaRPr>
          </a:p>
        </p:txBody>
      </p:sp>
      <p:sp>
        <p:nvSpPr>
          <p:cNvPr id="21" name="ïs1ídè"/>
          <p:cNvSpPr/>
          <p:nvPr/>
        </p:nvSpPr>
        <p:spPr>
          <a:xfrm>
            <a:off x="677888" y="4762500"/>
            <a:ext cx="1353095" cy="1353700"/>
          </a:xfrm>
          <a:prstGeom prst="flowChartMagneticTape">
            <a:avLst/>
          </a:prstGeom>
          <a:blipFill>
            <a:blip r:embed="rId3"/>
            <a:srcRect/>
            <a:stretch>
              <a:fillRect l="-25269" r="-24798"/>
            </a:stretch>
          </a:blipFill>
          <a:ln w="571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p>
            <a:pPr algn="ctr"/>
            <a:endParaRPr>
              <a:ea typeface="微软雅黑" panose="020B0503020204020204" pitchFamily="34" charset="-122"/>
            </a:endParaRPr>
          </a:p>
        </p:txBody>
      </p:sp>
      <p:sp>
        <p:nvSpPr>
          <p:cNvPr id="16" name="iṥḷiďé"/>
          <p:cNvSpPr txBox="1"/>
          <p:nvPr/>
        </p:nvSpPr>
        <p:spPr>
          <a:xfrm>
            <a:off x="2316891" y="4762500"/>
            <a:ext cx="9203690" cy="1384300"/>
          </a:xfrm>
          <a:prstGeom prst="rect">
            <a:avLst/>
          </a:prstGeom>
          <a:noFill/>
          <a:ln>
            <a:noFill/>
          </a:ln>
        </p:spPr>
        <p:txBody>
          <a:bodyPr lIns="91440" tIns="45720" rIns="91440" bIns="45720" anchor="ctr" anchorCtr="0">
            <a:noAutofit/>
          </a:bodyPr>
          <a:p>
            <a:pPr indent="0" defTabSz="914400">
              <a:lnSpc>
                <a:spcPct val="150000"/>
              </a:lnSpc>
              <a:buClr>
                <a:schemeClr val="tx1"/>
              </a:buClr>
              <a:buSzPct val="100000"/>
              <a:buFont typeface="Arial" panose="020B0604020202020204" pitchFamily="34" charset="0"/>
              <a:buNone/>
            </a:pPr>
            <a:r>
              <a:rPr lang="zh-CN" altLang="en-US" dirty="0">
                <a:ea typeface="微软雅黑" panose="020B0503020204020204" pitchFamily="34" charset="-122"/>
              </a:rPr>
              <a:t>问题：团队经验不足。与项目相关的文档书写不好入手。</a:t>
            </a:r>
            <a:endParaRPr lang="zh-CN" altLang="en-US" dirty="0">
              <a:ea typeface="微软雅黑" panose="020B0503020204020204" pitchFamily="34" charset="-122"/>
            </a:endParaRPr>
          </a:p>
          <a:p>
            <a:pPr indent="0" defTabSz="914400">
              <a:lnSpc>
                <a:spcPct val="150000"/>
              </a:lnSpc>
              <a:buClr>
                <a:schemeClr val="tx1"/>
              </a:buClr>
              <a:buSzPct val="100000"/>
              <a:buFont typeface="Arial" panose="020B0604020202020204" pitchFamily="34" charset="0"/>
              <a:buNone/>
            </a:pPr>
            <a:r>
              <a:rPr lang="zh-CN" altLang="en-US" dirty="0">
                <a:ea typeface="微软雅黑" panose="020B0503020204020204" pitchFamily="34" charset="-122"/>
              </a:rPr>
              <a:t>解决：网上查找资料与B站学习相关的知识。</a:t>
            </a:r>
            <a:endParaRPr lang="zh-CN" altLang="en-US" dirty="0">
              <a:ea typeface="微软雅黑" panose="020B0503020204020204" pitchFamily="34" charset="-122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360519" y="390299"/>
            <a:ext cx="1605280" cy="521970"/>
          </a:xfrm>
          <a:prstGeom prst="rect">
            <a:avLst/>
          </a:prstGeom>
        </p:spPr>
        <p:txBody>
          <a:bodyPr wrap="none">
            <a:spAutoFit/>
          </a:bodyPr>
          <a:p>
            <a:r>
              <a:rPr lang="zh-CN" altLang="en-US" sz="2800" dirty="0" smtClean="0">
                <a:ea typeface="微软雅黑" panose="020B0503020204020204" pitchFamily="34" charset="-122"/>
              </a:rPr>
              <a:t>遇到问题</a:t>
            </a:r>
            <a:endParaRPr lang="zh-CN" altLang="en-US" sz="2800" dirty="0" smtClean="0"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19" grpId="0"/>
      <p:bldP spid="4" grpId="1" animBg="1"/>
      <p:bldP spid="5" grpId="1" animBg="1"/>
      <p:bldP spid="19" grpId="1"/>
      <p:bldP spid="6" grpId="0" animBg="1"/>
      <p:bldP spid="8" grpId="0" animBg="1"/>
      <p:bldP spid="11" grpId="0"/>
      <p:bldP spid="6" grpId="1" animBg="1"/>
      <p:bldP spid="8" grpId="1" animBg="1"/>
      <p:bldP spid="11" grpId="1"/>
      <p:bldP spid="20" grpId="0" animBg="1"/>
      <p:bldP spid="21" grpId="0" animBg="1"/>
      <p:bldP spid="16" grpId="0"/>
      <p:bldP spid="20" grpId="1" animBg="1"/>
      <p:bldP spid="21" grpId="1" animBg="1"/>
      <p:bldP spid="16" grpId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40" name="图片 39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rcRect/>
          <a:stretch>
            <a:fillRect/>
          </a:stretch>
        </p:blipFill>
        <p:spPr>
          <a:xfrm>
            <a:off x="390883" y="722142"/>
            <a:ext cx="5413376" cy="5413717"/>
          </a:xfrm>
          <a:custGeom>
            <a:avLst/>
            <a:gdLst>
              <a:gd name="connsiteX0" fmla="*/ 1 w 5413376"/>
              <a:gd name="connsiteY0" fmla="*/ 2707200 h 5413717"/>
              <a:gd name="connsiteX1" fmla="*/ 1 w 5413376"/>
              <a:gd name="connsiteY1" fmla="*/ 5413716 h 5413717"/>
              <a:gd name="connsiteX2" fmla="*/ 2706518 w 5413376"/>
              <a:gd name="connsiteY2" fmla="*/ 5413716 h 5413717"/>
              <a:gd name="connsiteX3" fmla="*/ 2706517 w 5413376"/>
              <a:gd name="connsiteY3" fmla="*/ 5413717 h 5413717"/>
              <a:gd name="connsiteX4" fmla="*/ 0 w 5413376"/>
              <a:gd name="connsiteY4" fmla="*/ 5413717 h 5413717"/>
              <a:gd name="connsiteX5" fmla="*/ 0 w 5413376"/>
              <a:gd name="connsiteY5" fmla="*/ 2707201 h 5413717"/>
              <a:gd name="connsiteX6" fmla="*/ 2706859 w 5413376"/>
              <a:gd name="connsiteY6" fmla="*/ 342 h 5413717"/>
              <a:gd name="connsiteX7" fmla="*/ 5413376 w 5413376"/>
              <a:gd name="connsiteY7" fmla="*/ 2706859 h 5413717"/>
              <a:gd name="connsiteX8" fmla="*/ 2706860 w 5413376"/>
              <a:gd name="connsiteY8" fmla="*/ 5413375 h 5413717"/>
              <a:gd name="connsiteX9" fmla="*/ 343 w 5413376"/>
              <a:gd name="connsiteY9" fmla="*/ 2706858 h 5413717"/>
              <a:gd name="connsiteX10" fmla="*/ 0 w 5413376"/>
              <a:gd name="connsiteY10" fmla="*/ 0 h 5413717"/>
              <a:gd name="connsiteX11" fmla="*/ 2706517 w 5413376"/>
              <a:gd name="connsiteY11" fmla="*/ 0 h 5413717"/>
              <a:gd name="connsiteX12" fmla="*/ 2706518 w 5413376"/>
              <a:gd name="connsiteY12" fmla="*/ 1 h 5413717"/>
              <a:gd name="connsiteX13" fmla="*/ 0 w 5413376"/>
              <a:gd name="connsiteY13" fmla="*/ 1 h 54137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413376" h="5413717">
                <a:moveTo>
                  <a:pt x="1" y="2707200"/>
                </a:moveTo>
                <a:lnTo>
                  <a:pt x="1" y="5413716"/>
                </a:lnTo>
                <a:lnTo>
                  <a:pt x="2706518" y="5413716"/>
                </a:lnTo>
                <a:lnTo>
                  <a:pt x="2706517" y="5413717"/>
                </a:lnTo>
                <a:lnTo>
                  <a:pt x="0" y="5413717"/>
                </a:lnTo>
                <a:lnTo>
                  <a:pt x="0" y="2707201"/>
                </a:lnTo>
                <a:close/>
                <a:moveTo>
                  <a:pt x="2706859" y="342"/>
                </a:moveTo>
                <a:lnTo>
                  <a:pt x="5413376" y="2706859"/>
                </a:lnTo>
                <a:lnTo>
                  <a:pt x="2706860" y="5413375"/>
                </a:lnTo>
                <a:lnTo>
                  <a:pt x="343" y="2706858"/>
                </a:lnTo>
                <a:close/>
                <a:moveTo>
                  <a:pt x="0" y="0"/>
                </a:moveTo>
                <a:lnTo>
                  <a:pt x="2706517" y="0"/>
                </a:lnTo>
                <a:lnTo>
                  <a:pt x="2706518" y="1"/>
                </a:lnTo>
                <a:lnTo>
                  <a:pt x="0" y="1"/>
                </a:lnTo>
                <a:close/>
              </a:path>
            </a:pathLst>
          </a:custGeom>
          <a:noFill/>
        </p:spPr>
      </p:pic>
      <p:sp>
        <p:nvSpPr>
          <p:cNvPr id="32" name="Rectangle 3"/>
          <p:cNvSpPr/>
          <p:nvPr>
            <p:custDataLst>
              <p:tags r:id="rId3"/>
            </p:custDataLst>
          </p:nvPr>
        </p:nvSpPr>
        <p:spPr>
          <a:xfrm rot="18900000">
            <a:off x="3903068" y="2518443"/>
            <a:ext cx="1821112" cy="1821114"/>
          </a:xfrm>
          <a:prstGeom prst="rect">
            <a:avLst/>
          </a:prstGeom>
          <a:solidFill>
            <a:srgbClr val="2196F3">
              <a:alpha val="70000"/>
            </a:srgbClr>
          </a:solidFill>
          <a:ln w="38100">
            <a:noFill/>
          </a:ln>
        </p:spPr>
        <p:style>
          <a:lnRef idx="2">
            <a:srgbClr val="2196F3">
              <a:shade val="50000"/>
            </a:srgbClr>
          </a:lnRef>
          <a:fillRef idx="1">
            <a:srgbClr val="2196F3"/>
          </a:fillRef>
          <a:effectRef idx="0">
            <a:srgbClr val="2196F3"/>
          </a:effectRef>
          <a:fontRef idx="minor">
            <a:srgbClr val="FFFFFF"/>
          </a:fontRef>
        </p:style>
        <p:txBody>
          <a:bodyPr rtlCol="0" anchor="ctr"/>
          <a:p>
            <a:pPr algn="ctr"/>
            <a:endParaRPr lang="en-US"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6" name="Diamond 5"/>
          <p:cNvSpPr/>
          <p:nvPr>
            <p:custDataLst>
              <p:tags r:id="rId4"/>
            </p:custDataLst>
          </p:nvPr>
        </p:nvSpPr>
        <p:spPr>
          <a:xfrm>
            <a:off x="4333354" y="2948733"/>
            <a:ext cx="960540" cy="960534"/>
          </a:xfrm>
          <a:prstGeom prst="diamond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rgbClr val="2196F3"/>
          </a:lnRef>
          <a:fillRef idx="3">
            <a:srgbClr val="2196F3"/>
          </a:fillRef>
          <a:effectRef idx="2">
            <a:srgbClr val="2196F3"/>
          </a:effectRef>
          <a:fontRef idx="minor">
            <a:srgbClr val="FFFFFF"/>
          </a:fontRef>
        </p:style>
        <p:txBody>
          <a:bodyPr rtlCol="0" anchor="ctr"/>
          <a:p>
            <a:pPr algn="ctr"/>
            <a:endParaRPr lang="en-US"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34" name="任意多边形: 形状 33"/>
          <p:cNvSpPr/>
          <p:nvPr>
            <p:custDataLst>
              <p:tags r:id="rId5"/>
            </p:custDataLst>
          </p:nvPr>
        </p:nvSpPr>
        <p:spPr>
          <a:xfrm>
            <a:off x="4621517" y="3236682"/>
            <a:ext cx="384214" cy="384636"/>
          </a:xfrm>
          <a:custGeom>
            <a:avLst/>
            <a:gdLst>
              <a:gd name="connsiteX0" fmla="*/ 54571 w 384214"/>
              <a:gd name="connsiteY0" fmla="*/ 283927 h 384636"/>
              <a:gd name="connsiteX1" fmla="*/ 66591 w 384214"/>
              <a:gd name="connsiteY1" fmla="*/ 283927 h 384636"/>
              <a:gd name="connsiteX2" fmla="*/ 66591 w 384214"/>
              <a:gd name="connsiteY2" fmla="*/ 372616 h 384636"/>
              <a:gd name="connsiteX3" fmla="*/ 325991 w 384214"/>
              <a:gd name="connsiteY3" fmla="*/ 372616 h 384636"/>
              <a:gd name="connsiteX4" fmla="*/ 325991 w 384214"/>
              <a:gd name="connsiteY4" fmla="*/ 321574 h 384636"/>
              <a:gd name="connsiteX5" fmla="*/ 338011 w 384214"/>
              <a:gd name="connsiteY5" fmla="*/ 321574 h 384636"/>
              <a:gd name="connsiteX6" fmla="*/ 338011 w 384214"/>
              <a:gd name="connsiteY6" fmla="*/ 384636 h 384636"/>
              <a:gd name="connsiteX7" fmla="*/ 54571 w 384214"/>
              <a:gd name="connsiteY7" fmla="*/ 384636 h 384636"/>
              <a:gd name="connsiteX8" fmla="*/ 206048 w 384214"/>
              <a:gd name="connsiteY8" fmla="*/ 221148 h 384636"/>
              <a:gd name="connsiteX9" fmla="*/ 213593 w 384214"/>
              <a:gd name="connsiteY9" fmla="*/ 225060 h 384636"/>
              <a:gd name="connsiteX10" fmla="*/ 209681 w 384214"/>
              <a:gd name="connsiteY10" fmla="*/ 232606 h 384636"/>
              <a:gd name="connsiteX11" fmla="*/ 203107 w 384214"/>
              <a:gd name="connsiteY11" fmla="*/ 234743 h 384636"/>
              <a:gd name="connsiteX12" fmla="*/ 201676 w 384214"/>
              <a:gd name="connsiteY12" fmla="*/ 235696 h 384636"/>
              <a:gd name="connsiteX13" fmla="*/ 186404 w 384214"/>
              <a:gd name="connsiteY13" fmla="*/ 241956 h 384636"/>
              <a:gd name="connsiteX14" fmla="*/ 184126 w 384214"/>
              <a:gd name="connsiteY14" fmla="*/ 242408 h 384636"/>
              <a:gd name="connsiteX15" fmla="*/ 178570 w 384214"/>
              <a:gd name="connsiteY15" fmla="*/ 238678 h 384636"/>
              <a:gd name="connsiteX16" fmla="*/ 181849 w 384214"/>
              <a:gd name="connsiteY16" fmla="*/ 230833 h 384636"/>
              <a:gd name="connsiteX17" fmla="*/ 197086 w 384214"/>
              <a:gd name="connsiteY17" fmla="*/ 224588 h 384636"/>
              <a:gd name="connsiteX18" fmla="*/ 199198 w 384214"/>
              <a:gd name="connsiteY18" fmla="*/ 223373 h 384636"/>
              <a:gd name="connsiteX19" fmla="*/ 205972 w 384214"/>
              <a:gd name="connsiteY19" fmla="*/ 221172 h 384636"/>
              <a:gd name="connsiteX20" fmla="*/ 206048 w 384214"/>
              <a:gd name="connsiteY20" fmla="*/ 221148 h 384636"/>
              <a:gd name="connsiteX21" fmla="*/ 279082 w 384214"/>
              <a:gd name="connsiteY21" fmla="*/ 198325 h 384636"/>
              <a:gd name="connsiteX22" fmla="*/ 261052 w 384214"/>
              <a:gd name="connsiteY22" fmla="*/ 216355 h 384636"/>
              <a:gd name="connsiteX23" fmla="*/ 279082 w 384214"/>
              <a:gd name="connsiteY23" fmla="*/ 234384 h 384636"/>
              <a:gd name="connsiteX24" fmla="*/ 297111 w 384214"/>
              <a:gd name="connsiteY24" fmla="*/ 216355 h 384636"/>
              <a:gd name="connsiteX25" fmla="*/ 279082 w 384214"/>
              <a:gd name="connsiteY25" fmla="*/ 198325 h 384636"/>
              <a:gd name="connsiteX26" fmla="*/ 279082 w 384214"/>
              <a:gd name="connsiteY26" fmla="*/ 186305 h 384636"/>
              <a:gd name="connsiteX27" fmla="*/ 309131 w 384214"/>
              <a:gd name="connsiteY27" fmla="*/ 216355 h 384636"/>
              <a:gd name="connsiteX28" fmla="*/ 279082 w 384214"/>
              <a:gd name="connsiteY28" fmla="*/ 246404 h 384636"/>
              <a:gd name="connsiteX29" fmla="*/ 249032 w 384214"/>
              <a:gd name="connsiteY29" fmla="*/ 216355 h 384636"/>
              <a:gd name="connsiteX30" fmla="*/ 279082 w 384214"/>
              <a:gd name="connsiteY30" fmla="*/ 186305 h 384636"/>
              <a:gd name="connsiteX31" fmla="*/ 105041 w 384214"/>
              <a:gd name="connsiteY31" fmla="*/ 165197 h 384636"/>
              <a:gd name="connsiteX32" fmla="*/ 87011 w 384214"/>
              <a:gd name="connsiteY32" fmla="*/ 183227 h 384636"/>
              <a:gd name="connsiteX33" fmla="*/ 105041 w 384214"/>
              <a:gd name="connsiteY33" fmla="*/ 201256 h 384636"/>
              <a:gd name="connsiteX34" fmla="*/ 123070 w 384214"/>
              <a:gd name="connsiteY34" fmla="*/ 183227 h 384636"/>
              <a:gd name="connsiteX35" fmla="*/ 105041 w 384214"/>
              <a:gd name="connsiteY35" fmla="*/ 165197 h 384636"/>
              <a:gd name="connsiteX36" fmla="*/ 194726 w 384214"/>
              <a:gd name="connsiteY36" fmla="*/ 156149 h 384636"/>
              <a:gd name="connsiteX37" fmla="*/ 203005 w 384214"/>
              <a:gd name="connsiteY37" fmla="*/ 158077 h 384636"/>
              <a:gd name="connsiteX38" fmla="*/ 201077 w 384214"/>
              <a:gd name="connsiteY38" fmla="*/ 166355 h 384636"/>
              <a:gd name="connsiteX39" fmla="*/ 186316 w 384214"/>
              <a:gd name="connsiteY39" fmla="*/ 175532 h 384636"/>
              <a:gd name="connsiteX40" fmla="*/ 185001 w 384214"/>
              <a:gd name="connsiteY40" fmla="*/ 176142 h 384636"/>
              <a:gd name="connsiteX41" fmla="*/ 182859 w 384214"/>
              <a:gd name="connsiteY41" fmla="*/ 176840 h 384636"/>
              <a:gd name="connsiteX42" fmla="*/ 183170 w 384214"/>
              <a:gd name="connsiteY42" fmla="*/ 183238 h 384636"/>
              <a:gd name="connsiteX43" fmla="*/ 182871 w 384214"/>
              <a:gd name="connsiteY43" fmla="*/ 189547 h 384636"/>
              <a:gd name="connsiteX44" fmla="*/ 185019 w 384214"/>
              <a:gd name="connsiteY44" fmla="*/ 190245 h 384636"/>
              <a:gd name="connsiteX45" fmla="*/ 186187 w 384214"/>
              <a:gd name="connsiteY45" fmla="*/ 190765 h 384636"/>
              <a:gd name="connsiteX46" fmla="*/ 203172 w 384214"/>
              <a:gd name="connsiteY46" fmla="*/ 200636 h 384636"/>
              <a:gd name="connsiteX47" fmla="*/ 205346 w 384214"/>
              <a:gd name="connsiteY47" fmla="*/ 208856 h 384636"/>
              <a:gd name="connsiteX48" fmla="*/ 197127 w 384214"/>
              <a:gd name="connsiteY48" fmla="*/ 211031 h 384636"/>
              <a:gd name="connsiteX49" fmla="*/ 180699 w 384214"/>
              <a:gd name="connsiteY49" fmla="*/ 201482 h 384636"/>
              <a:gd name="connsiteX50" fmla="*/ 174454 w 384214"/>
              <a:gd name="connsiteY50" fmla="*/ 199454 h 384636"/>
              <a:gd name="connsiteX51" fmla="*/ 170363 w 384214"/>
              <a:gd name="connsiteY51" fmla="*/ 192863 h 384636"/>
              <a:gd name="connsiteX52" fmla="*/ 170351 w 384214"/>
              <a:gd name="connsiteY52" fmla="*/ 173533 h 384636"/>
              <a:gd name="connsiteX53" fmla="*/ 174436 w 384214"/>
              <a:gd name="connsiteY53" fmla="*/ 166942 h 384636"/>
              <a:gd name="connsiteX54" fmla="*/ 180588 w 384214"/>
              <a:gd name="connsiteY54" fmla="*/ 164938 h 384636"/>
              <a:gd name="connsiteX55" fmla="*/ 105041 w 384214"/>
              <a:gd name="connsiteY55" fmla="*/ 153177 h 384636"/>
              <a:gd name="connsiteX56" fmla="*/ 135090 w 384214"/>
              <a:gd name="connsiteY56" fmla="*/ 183227 h 384636"/>
              <a:gd name="connsiteX57" fmla="*/ 105041 w 384214"/>
              <a:gd name="connsiteY57" fmla="*/ 213276 h 384636"/>
              <a:gd name="connsiteX58" fmla="*/ 74991 w 384214"/>
              <a:gd name="connsiteY58" fmla="*/ 183227 h 384636"/>
              <a:gd name="connsiteX59" fmla="*/ 105041 w 384214"/>
              <a:gd name="connsiteY59" fmla="*/ 153177 h 384636"/>
              <a:gd name="connsiteX60" fmla="*/ 273125 w 384214"/>
              <a:gd name="connsiteY60" fmla="*/ 108132 h 384636"/>
              <a:gd name="connsiteX61" fmla="*/ 285145 w 384214"/>
              <a:gd name="connsiteY61" fmla="*/ 108132 h 384636"/>
              <a:gd name="connsiteX62" fmla="*/ 290973 w 384214"/>
              <a:gd name="connsiteY62" fmla="*/ 112686 h 384636"/>
              <a:gd name="connsiteX63" fmla="*/ 296977 w 384214"/>
              <a:gd name="connsiteY63" fmla="*/ 136717 h 384636"/>
              <a:gd name="connsiteX64" fmla="*/ 297159 w 384214"/>
              <a:gd name="connsiteY64" fmla="*/ 138173 h 384636"/>
              <a:gd name="connsiteX65" fmla="*/ 297159 w 384214"/>
              <a:gd name="connsiteY65" fmla="*/ 140427 h 384636"/>
              <a:gd name="connsiteX66" fmla="*/ 309179 w 384214"/>
              <a:gd name="connsiteY66" fmla="*/ 144333 h 384636"/>
              <a:gd name="connsiteX67" fmla="*/ 310505 w 384214"/>
              <a:gd name="connsiteY67" fmla="*/ 142507 h 384636"/>
              <a:gd name="connsiteX68" fmla="*/ 311503 w 384214"/>
              <a:gd name="connsiteY68" fmla="*/ 141436 h 384636"/>
              <a:gd name="connsiteX69" fmla="*/ 330484 w 384214"/>
              <a:gd name="connsiteY69" fmla="*/ 125525 h 384636"/>
              <a:gd name="connsiteX70" fmla="*/ 337879 w 384214"/>
              <a:gd name="connsiteY70" fmla="*/ 125267 h 384636"/>
              <a:gd name="connsiteX71" fmla="*/ 347604 w 384214"/>
              <a:gd name="connsiteY71" fmla="*/ 132333 h 384636"/>
              <a:gd name="connsiteX72" fmla="*/ 349640 w 384214"/>
              <a:gd name="connsiteY72" fmla="*/ 139461 h 384636"/>
              <a:gd name="connsiteX73" fmla="*/ 340314 w 384214"/>
              <a:gd name="connsiteY73" fmla="*/ 162391 h 384636"/>
              <a:gd name="connsiteX74" fmla="*/ 339610 w 384214"/>
              <a:gd name="connsiteY74" fmla="*/ 163653 h 384636"/>
              <a:gd name="connsiteX75" fmla="*/ 338307 w 384214"/>
              <a:gd name="connsiteY75" fmla="*/ 165455 h 384636"/>
              <a:gd name="connsiteX76" fmla="*/ 345784 w 384214"/>
              <a:gd name="connsiteY76" fmla="*/ 175747 h 384636"/>
              <a:gd name="connsiteX77" fmla="*/ 347921 w 384214"/>
              <a:gd name="connsiteY77" fmla="*/ 175051 h 384636"/>
              <a:gd name="connsiteX78" fmla="*/ 349358 w 384214"/>
              <a:gd name="connsiteY78" fmla="*/ 174772 h 384636"/>
              <a:gd name="connsiteX79" fmla="*/ 374073 w 384214"/>
              <a:gd name="connsiteY79" fmla="*/ 173058 h 384636"/>
              <a:gd name="connsiteX80" fmla="*/ 380206 w 384214"/>
              <a:gd name="connsiteY80" fmla="*/ 177199 h 384636"/>
              <a:gd name="connsiteX81" fmla="*/ 383915 w 384214"/>
              <a:gd name="connsiteY81" fmla="*/ 188632 h 384636"/>
              <a:gd name="connsiteX82" fmla="*/ 381374 w 384214"/>
              <a:gd name="connsiteY82" fmla="*/ 195590 h 384636"/>
              <a:gd name="connsiteX83" fmla="*/ 360357 w 384214"/>
              <a:gd name="connsiteY83" fmla="*/ 208660 h 384636"/>
              <a:gd name="connsiteX84" fmla="*/ 359042 w 384214"/>
              <a:gd name="connsiteY84" fmla="*/ 209274 h 384636"/>
              <a:gd name="connsiteX85" fmla="*/ 356900 w 384214"/>
              <a:gd name="connsiteY85" fmla="*/ 209966 h 384636"/>
              <a:gd name="connsiteX86" fmla="*/ 357211 w 384214"/>
              <a:gd name="connsiteY86" fmla="*/ 216363 h 384636"/>
              <a:gd name="connsiteX87" fmla="*/ 356912 w 384214"/>
              <a:gd name="connsiteY87" fmla="*/ 222676 h 384636"/>
              <a:gd name="connsiteX88" fmla="*/ 359060 w 384214"/>
              <a:gd name="connsiteY88" fmla="*/ 223374 h 384636"/>
              <a:gd name="connsiteX89" fmla="*/ 360392 w 384214"/>
              <a:gd name="connsiteY89" fmla="*/ 223996 h 384636"/>
              <a:gd name="connsiteX90" fmla="*/ 381392 w 384214"/>
              <a:gd name="connsiteY90" fmla="*/ 237134 h 384636"/>
              <a:gd name="connsiteX91" fmla="*/ 383921 w 384214"/>
              <a:gd name="connsiteY91" fmla="*/ 244086 h 384636"/>
              <a:gd name="connsiteX92" fmla="*/ 380206 w 384214"/>
              <a:gd name="connsiteY92" fmla="*/ 255519 h 384636"/>
              <a:gd name="connsiteX93" fmla="*/ 374055 w 384214"/>
              <a:gd name="connsiteY93" fmla="*/ 259657 h 384636"/>
              <a:gd name="connsiteX94" fmla="*/ 349364 w 384214"/>
              <a:gd name="connsiteY94" fmla="*/ 257872 h 384636"/>
              <a:gd name="connsiteX95" fmla="*/ 347944 w 384214"/>
              <a:gd name="connsiteY95" fmla="*/ 257594 h 384636"/>
              <a:gd name="connsiteX96" fmla="*/ 345825 w 384214"/>
              <a:gd name="connsiteY96" fmla="*/ 256907 h 384636"/>
              <a:gd name="connsiteX97" fmla="*/ 338359 w 384214"/>
              <a:gd name="connsiteY97" fmla="*/ 267210 h 384636"/>
              <a:gd name="connsiteX98" fmla="*/ 339674 w 384214"/>
              <a:gd name="connsiteY98" fmla="*/ 269021 h 384636"/>
              <a:gd name="connsiteX99" fmla="*/ 340384 w 384214"/>
              <a:gd name="connsiteY99" fmla="*/ 270303 h 384636"/>
              <a:gd name="connsiteX100" fmla="*/ 349651 w 384214"/>
              <a:gd name="connsiteY100" fmla="*/ 293275 h 384636"/>
              <a:gd name="connsiteX101" fmla="*/ 347609 w 384214"/>
              <a:gd name="connsiteY101" fmla="*/ 300385 h 384636"/>
              <a:gd name="connsiteX102" fmla="*/ 337885 w 384214"/>
              <a:gd name="connsiteY102" fmla="*/ 307451 h 384636"/>
              <a:gd name="connsiteX103" fmla="*/ 330478 w 384214"/>
              <a:gd name="connsiteY103" fmla="*/ 307184 h 384636"/>
              <a:gd name="connsiteX104" fmla="*/ 311550 w 384214"/>
              <a:gd name="connsiteY104" fmla="*/ 291229 h 384636"/>
              <a:gd name="connsiteX105" fmla="*/ 310564 w 384214"/>
              <a:gd name="connsiteY105" fmla="*/ 290170 h 384636"/>
              <a:gd name="connsiteX106" fmla="*/ 309255 w 384214"/>
              <a:gd name="connsiteY106" fmla="*/ 288368 h 384636"/>
              <a:gd name="connsiteX107" fmla="*/ 297159 w 384214"/>
              <a:gd name="connsiteY107" fmla="*/ 292303 h 384636"/>
              <a:gd name="connsiteX108" fmla="*/ 297159 w 384214"/>
              <a:gd name="connsiteY108" fmla="*/ 294548 h 384636"/>
              <a:gd name="connsiteX109" fmla="*/ 296977 w 384214"/>
              <a:gd name="connsiteY109" fmla="*/ 296004 h 384636"/>
              <a:gd name="connsiteX110" fmla="*/ 290973 w 384214"/>
              <a:gd name="connsiteY110" fmla="*/ 320035 h 384636"/>
              <a:gd name="connsiteX111" fmla="*/ 285145 w 384214"/>
              <a:gd name="connsiteY111" fmla="*/ 324589 h 384636"/>
              <a:gd name="connsiteX112" fmla="*/ 273125 w 384214"/>
              <a:gd name="connsiteY112" fmla="*/ 324589 h 384636"/>
              <a:gd name="connsiteX113" fmla="*/ 267292 w 384214"/>
              <a:gd name="connsiteY113" fmla="*/ 320020 h 384636"/>
              <a:gd name="connsiteX114" fmla="*/ 261358 w 384214"/>
              <a:gd name="connsiteY114" fmla="*/ 295989 h 384636"/>
              <a:gd name="connsiteX115" fmla="*/ 261182 w 384214"/>
              <a:gd name="connsiteY115" fmla="*/ 294554 h 384636"/>
              <a:gd name="connsiteX116" fmla="*/ 261182 w 384214"/>
              <a:gd name="connsiteY116" fmla="*/ 292338 h 384636"/>
              <a:gd name="connsiteX117" fmla="*/ 249062 w 384214"/>
              <a:gd name="connsiteY117" fmla="*/ 288424 h 384636"/>
              <a:gd name="connsiteX118" fmla="*/ 247765 w 384214"/>
              <a:gd name="connsiteY118" fmla="*/ 290208 h 384636"/>
              <a:gd name="connsiteX119" fmla="*/ 246762 w 384214"/>
              <a:gd name="connsiteY119" fmla="*/ 291288 h 384636"/>
              <a:gd name="connsiteX120" fmla="*/ 227769 w 384214"/>
              <a:gd name="connsiteY120" fmla="*/ 307196 h 384636"/>
              <a:gd name="connsiteX121" fmla="*/ 220374 w 384214"/>
              <a:gd name="connsiteY121" fmla="*/ 307451 h 384636"/>
              <a:gd name="connsiteX122" fmla="*/ 210649 w 384214"/>
              <a:gd name="connsiteY122" fmla="*/ 300385 h 384636"/>
              <a:gd name="connsiteX123" fmla="*/ 208607 w 384214"/>
              <a:gd name="connsiteY123" fmla="*/ 293275 h 384636"/>
              <a:gd name="connsiteX124" fmla="*/ 217874 w 384214"/>
              <a:gd name="connsiteY124" fmla="*/ 270303 h 384636"/>
              <a:gd name="connsiteX125" fmla="*/ 218590 w 384214"/>
              <a:gd name="connsiteY125" fmla="*/ 269018 h 384636"/>
              <a:gd name="connsiteX126" fmla="*/ 219864 w 384214"/>
              <a:gd name="connsiteY126" fmla="*/ 267266 h 384636"/>
              <a:gd name="connsiteX127" fmla="*/ 212398 w 384214"/>
              <a:gd name="connsiteY127" fmla="*/ 257001 h 384636"/>
              <a:gd name="connsiteX128" fmla="*/ 210344 w 384214"/>
              <a:gd name="connsiteY128" fmla="*/ 257670 h 384636"/>
              <a:gd name="connsiteX129" fmla="*/ 208836 w 384214"/>
              <a:gd name="connsiteY129" fmla="*/ 257955 h 384636"/>
              <a:gd name="connsiteX130" fmla="*/ 187983 w 384214"/>
              <a:gd name="connsiteY130" fmla="*/ 259172 h 384636"/>
              <a:gd name="connsiteX131" fmla="*/ 181630 w 384214"/>
              <a:gd name="connsiteY131" fmla="*/ 253524 h 384636"/>
              <a:gd name="connsiteX132" fmla="*/ 187278 w 384214"/>
              <a:gd name="connsiteY132" fmla="*/ 247170 h 384636"/>
              <a:gd name="connsiteX133" fmla="*/ 207362 w 384214"/>
              <a:gd name="connsiteY133" fmla="*/ 245999 h 384636"/>
              <a:gd name="connsiteX134" fmla="*/ 213343 w 384214"/>
              <a:gd name="connsiteY134" fmla="*/ 244051 h 384636"/>
              <a:gd name="connsiteX135" fmla="*/ 220527 w 384214"/>
              <a:gd name="connsiteY135" fmla="*/ 246977 h 384636"/>
              <a:gd name="connsiteX136" fmla="*/ 231901 w 384214"/>
              <a:gd name="connsiteY136" fmla="*/ 262618 h 384636"/>
              <a:gd name="connsiteX137" fmla="*/ 232470 w 384214"/>
              <a:gd name="connsiteY137" fmla="*/ 270359 h 384636"/>
              <a:gd name="connsiteX138" fmla="*/ 228743 w 384214"/>
              <a:gd name="connsiteY138" fmla="*/ 275485 h 384636"/>
              <a:gd name="connsiteX139" fmla="*/ 221513 w 384214"/>
              <a:gd name="connsiteY139" fmla="*/ 293418 h 384636"/>
              <a:gd name="connsiteX140" fmla="*/ 223643 w 384214"/>
              <a:gd name="connsiteY140" fmla="*/ 294968 h 384636"/>
              <a:gd name="connsiteX141" fmla="*/ 238468 w 384214"/>
              <a:gd name="connsiteY141" fmla="*/ 282552 h 384636"/>
              <a:gd name="connsiteX142" fmla="*/ 242213 w 384214"/>
              <a:gd name="connsiteY142" fmla="*/ 277390 h 384636"/>
              <a:gd name="connsiteX143" fmla="*/ 249754 w 384214"/>
              <a:gd name="connsiteY143" fmla="*/ 275535 h 384636"/>
              <a:gd name="connsiteX144" fmla="*/ 268171 w 384214"/>
              <a:gd name="connsiteY144" fmla="*/ 281489 h 384636"/>
              <a:gd name="connsiteX145" fmla="*/ 273195 w 384214"/>
              <a:gd name="connsiteY145" fmla="*/ 287411 h 384636"/>
              <a:gd name="connsiteX146" fmla="*/ 273201 w 384214"/>
              <a:gd name="connsiteY146" fmla="*/ 293814 h 384636"/>
              <a:gd name="connsiteX147" fmla="*/ 277832 w 384214"/>
              <a:gd name="connsiteY147" fmla="*/ 312569 h 384636"/>
              <a:gd name="connsiteX148" fmla="*/ 280450 w 384214"/>
              <a:gd name="connsiteY148" fmla="*/ 312569 h 384636"/>
              <a:gd name="connsiteX149" fmla="*/ 285139 w 384214"/>
              <a:gd name="connsiteY149" fmla="*/ 293809 h 384636"/>
              <a:gd name="connsiteX150" fmla="*/ 285139 w 384214"/>
              <a:gd name="connsiteY150" fmla="*/ 287391 h 384636"/>
              <a:gd name="connsiteX151" fmla="*/ 290151 w 384214"/>
              <a:gd name="connsiteY151" fmla="*/ 281463 h 384636"/>
              <a:gd name="connsiteX152" fmla="*/ 308533 w 384214"/>
              <a:gd name="connsiteY152" fmla="*/ 275480 h 384636"/>
              <a:gd name="connsiteX153" fmla="*/ 316081 w 384214"/>
              <a:gd name="connsiteY153" fmla="*/ 277319 h 384636"/>
              <a:gd name="connsiteX154" fmla="*/ 319855 w 384214"/>
              <a:gd name="connsiteY154" fmla="*/ 282508 h 384636"/>
              <a:gd name="connsiteX155" fmla="*/ 334627 w 384214"/>
              <a:gd name="connsiteY155" fmla="*/ 294959 h 384636"/>
              <a:gd name="connsiteX156" fmla="*/ 336746 w 384214"/>
              <a:gd name="connsiteY156" fmla="*/ 293418 h 384636"/>
              <a:gd name="connsiteX157" fmla="*/ 329509 w 384214"/>
              <a:gd name="connsiteY157" fmla="*/ 275485 h 384636"/>
              <a:gd name="connsiteX158" fmla="*/ 325747 w 384214"/>
              <a:gd name="connsiteY158" fmla="*/ 270303 h 384636"/>
              <a:gd name="connsiteX159" fmla="*/ 326316 w 384214"/>
              <a:gd name="connsiteY159" fmla="*/ 262571 h 384636"/>
              <a:gd name="connsiteX160" fmla="*/ 337679 w 384214"/>
              <a:gd name="connsiteY160" fmla="*/ 246894 h 384636"/>
              <a:gd name="connsiteX161" fmla="*/ 344863 w 384214"/>
              <a:gd name="connsiteY161" fmla="*/ 243960 h 384636"/>
              <a:gd name="connsiteX162" fmla="*/ 350961 w 384214"/>
              <a:gd name="connsiteY162" fmla="*/ 245934 h 384636"/>
              <a:gd name="connsiteX163" fmla="*/ 370229 w 384214"/>
              <a:gd name="connsiteY163" fmla="*/ 247328 h 384636"/>
              <a:gd name="connsiteX164" fmla="*/ 371039 w 384214"/>
              <a:gd name="connsiteY164" fmla="*/ 244834 h 384636"/>
              <a:gd name="connsiteX165" fmla="*/ 354647 w 384214"/>
              <a:gd name="connsiteY165" fmla="*/ 234578 h 384636"/>
              <a:gd name="connsiteX166" fmla="*/ 348496 w 384214"/>
              <a:gd name="connsiteY166" fmla="*/ 232580 h 384636"/>
              <a:gd name="connsiteX167" fmla="*/ 344405 w 384214"/>
              <a:gd name="connsiteY167" fmla="*/ 225989 h 384636"/>
              <a:gd name="connsiteX168" fmla="*/ 344393 w 384214"/>
              <a:gd name="connsiteY168" fmla="*/ 206659 h 384636"/>
              <a:gd name="connsiteX169" fmla="*/ 348478 w 384214"/>
              <a:gd name="connsiteY169" fmla="*/ 200065 h 384636"/>
              <a:gd name="connsiteX170" fmla="*/ 354629 w 384214"/>
              <a:gd name="connsiteY170" fmla="*/ 198067 h 384636"/>
              <a:gd name="connsiteX171" fmla="*/ 371033 w 384214"/>
              <a:gd name="connsiteY171" fmla="*/ 187866 h 384636"/>
              <a:gd name="connsiteX172" fmla="*/ 370223 w 384214"/>
              <a:gd name="connsiteY172" fmla="*/ 185375 h 384636"/>
              <a:gd name="connsiteX173" fmla="*/ 350931 w 384214"/>
              <a:gd name="connsiteY173" fmla="*/ 186713 h 384636"/>
              <a:gd name="connsiteX174" fmla="*/ 344827 w 384214"/>
              <a:gd name="connsiteY174" fmla="*/ 188694 h 384636"/>
              <a:gd name="connsiteX175" fmla="*/ 337649 w 384214"/>
              <a:gd name="connsiteY175" fmla="*/ 185765 h 384636"/>
              <a:gd name="connsiteX176" fmla="*/ 326269 w 384214"/>
              <a:gd name="connsiteY176" fmla="*/ 170106 h 384636"/>
              <a:gd name="connsiteX177" fmla="*/ 325694 w 384214"/>
              <a:gd name="connsiteY177" fmla="*/ 162371 h 384636"/>
              <a:gd name="connsiteX178" fmla="*/ 329450 w 384214"/>
              <a:gd name="connsiteY178" fmla="*/ 157188 h 384636"/>
              <a:gd name="connsiteX179" fmla="*/ 336728 w 384214"/>
              <a:gd name="connsiteY179" fmla="*/ 139291 h 384636"/>
              <a:gd name="connsiteX180" fmla="*/ 334609 w 384214"/>
              <a:gd name="connsiteY180" fmla="*/ 137750 h 384636"/>
              <a:gd name="connsiteX181" fmla="*/ 319790 w 384214"/>
              <a:gd name="connsiteY181" fmla="*/ 150172 h 384636"/>
              <a:gd name="connsiteX182" fmla="*/ 316010 w 384214"/>
              <a:gd name="connsiteY182" fmla="*/ 155372 h 384636"/>
              <a:gd name="connsiteX183" fmla="*/ 308474 w 384214"/>
              <a:gd name="connsiteY183" fmla="*/ 157221 h 384636"/>
              <a:gd name="connsiteX184" fmla="*/ 290145 w 384214"/>
              <a:gd name="connsiteY184" fmla="*/ 151261 h 384636"/>
              <a:gd name="connsiteX185" fmla="*/ 285139 w 384214"/>
              <a:gd name="connsiteY185" fmla="*/ 145336 h 384636"/>
              <a:gd name="connsiteX186" fmla="*/ 285139 w 384214"/>
              <a:gd name="connsiteY186" fmla="*/ 138912 h 384636"/>
              <a:gd name="connsiteX187" fmla="*/ 280449 w 384214"/>
              <a:gd name="connsiteY187" fmla="*/ 120152 h 384636"/>
              <a:gd name="connsiteX188" fmla="*/ 277814 w 384214"/>
              <a:gd name="connsiteY188" fmla="*/ 120152 h 384636"/>
              <a:gd name="connsiteX189" fmla="*/ 273119 w 384214"/>
              <a:gd name="connsiteY189" fmla="*/ 138912 h 384636"/>
              <a:gd name="connsiteX190" fmla="*/ 273125 w 384214"/>
              <a:gd name="connsiteY190" fmla="*/ 145318 h 384636"/>
              <a:gd name="connsiteX191" fmla="*/ 268107 w 384214"/>
              <a:gd name="connsiteY191" fmla="*/ 151252 h 384636"/>
              <a:gd name="connsiteX192" fmla="*/ 249760 w 384214"/>
              <a:gd name="connsiteY192" fmla="*/ 157191 h 384636"/>
              <a:gd name="connsiteX193" fmla="*/ 242218 w 384214"/>
              <a:gd name="connsiteY193" fmla="*/ 155337 h 384636"/>
              <a:gd name="connsiteX194" fmla="*/ 238468 w 384214"/>
              <a:gd name="connsiteY194" fmla="*/ 150169 h 384636"/>
              <a:gd name="connsiteX195" fmla="*/ 223649 w 384214"/>
              <a:gd name="connsiteY195" fmla="*/ 137750 h 384636"/>
              <a:gd name="connsiteX196" fmla="*/ 221518 w 384214"/>
              <a:gd name="connsiteY196" fmla="*/ 139300 h 384636"/>
              <a:gd name="connsiteX197" fmla="*/ 228749 w 384214"/>
              <a:gd name="connsiteY197" fmla="*/ 157238 h 384636"/>
              <a:gd name="connsiteX198" fmla="*/ 232470 w 384214"/>
              <a:gd name="connsiteY198" fmla="*/ 162365 h 384636"/>
              <a:gd name="connsiteX199" fmla="*/ 231901 w 384214"/>
              <a:gd name="connsiteY199" fmla="*/ 170106 h 384636"/>
              <a:gd name="connsiteX200" fmla="*/ 220532 w 384214"/>
              <a:gd name="connsiteY200" fmla="*/ 185744 h 384636"/>
              <a:gd name="connsiteX201" fmla="*/ 217304 w 384214"/>
              <a:gd name="connsiteY201" fmla="*/ 192241 h 384636"/>
              <a:gd name="connsiteX202" fmla="*/ 217287 w 384214"/>
              <a:gd name="connsiteY202" fmla="*/ 192277 h 384636"/>
              <a:gd name="connsiteX203" fmla="*/ 209222 w 384214"/>
              <a:gd name="connsiteY203" fmla="*/ 194959 h 384636"/>
              <a:gd name="connsiteX204" fmla="*/ 206540 w 384214"/>
              <a:gd name="connsiteY204" fmla="*/ 186895 h 384636"/>
              <a:gd name="connsiteX205" fmla="*/ 209827 w 384214"/>
              <a:gd name="connsiteY205" fmla="*/ 180280 h 384636"/>
              <a:gd name="connsiteX206" fmla="*/ 219863 w 384214"/>
              <a:gd name="connsiteY206" fmla="*/ 165458 h 384636"/>
              <a:gd name="connsiteX207" fmla="*/ 218590 w 384214"/>
              <a:gd name="connsiteY207" fmla="*/ 163706 h 384636"/>
              <a:gd name="connsiteX208" fmla="*/ 217874 w 384214"/>
              <a:gd name="connsiteY208" fmla="*/ 162421 h 384636"/>
              <a:gd name="connsiteX209" fmla="*/ 208612 w 384214"/>
              <a:gd name="connsiteY209" fmla="*/ 139443 h 384636"/>
              <a:gd name="connsiteX210" fmla="*/ 210655 w 384214"/>
              <a:gd name="connsiteY210" fmla="*/ 132333 h 384636"/>
              <a:gd name="connsiteX211" fmla="*/ 220380 w 384214"/>
              <a:gd name="connsiteY211" fmla="*/ 125267 h 384636"/>
              <a:gd name="connsiteX212" fmla="*/ 227775 w 384214"/>
              <a:gd name="connsiteY212" fmla="*/ 125522 h 384636"/>
              <a:gd name="connsiteX213" fmla="*/ 246761 w 384214"/>
              <a:gd name="connsiteY213" fmla="*/ 141433 h 384636"/>
              <a:gd name="connsiteX214" fmla="*/ 247765 w 384214"/>
              <a:gd name="connsiteY214" fmla="*/ 142513 h 384636"/>
              <a:gd name="connsiteX215" fmla="*/ 249062 w 384214"/>
              <a:gd name="connsiteY215" fmla="*/ 144303 h 384636"/>
              <a:gd name="connsiteX216" fmla="*/ 261099 w 384214"/>
              <a:gd name="connsiteY216" fmla="*/ 140409 h 384636"/>
              <a:gd name="connsiteX217" fmla="*/ 261099 w 384214"/>
              <a:gd name="connsiteY217" fmla="*/ 138179 h 384636"/>
              <a:gd name="connsiteX218" fmla="*/ 261281 w 384214"/>
              <a:gd name="connsiteY218" fmla="*/ 136714 h 384636"/>
              <a:gd name="connsiteX219" fmla="*/ 267297 w 384214"/>
              <a:gd name="connsiteY219" fmla="*/ 112683 h 384636"/>
              <a:gd name="connsiteX220" fmla="*/ 273125 w 384214"/>
              <a:gd name="connsiteY220" fmla="*/ 108132 h 384636"/>
              <a:gd name="connsiteX221" fmla="*/ 99083 w 384214"/>
              <a:gd name="connsiteY221" fmla="*/ 75004 h 384636"/>
              <a:gd name="connsiteX222" fmla="*/ 111103 w 384214"/>
              <a:gd name="connsiteY222" fmla="*/ 75004 h 384636"/>
              <a:gd name="connsiteX223" fmla="*/ 116931 w 384214"/>
              <a:gd name="connsiteY223" fmla="*/ 79558 h 384636"/>
              <a:gd name="connsiteX224" fmla="*/ 122935 w 384214"/>
              <a:gd name="connsiteY224" fmla="*/ 103592 h 384636"/>
              <a:gd name="connsiteX225" fmla="*/ 123117 w 384214"/>
              <a:gd name="connsiteY225" fmla="*/ 105048 h 384636"/>
              <a:gd name="connsiteX226" fmla="*/ 123117 w 384214"/>
              <a:gd name="connsiteY226" fmla="*/ 107301 h 384636"/>
              <a:gd name="connsiteX227" fmla="*/ 135137 w 384214"/>
              <a:gd name="connsiteY227" fmla="*/ 111207 h 384636"/>
              <a:gd name="connsiteX228" fmla="*/ 136463 w 384214"/>
              <a:gd name="connsiteY228" fmla="*/ 109382 h 384636"/>
              <a:gd name="connsiteX229" fmla="*/ 137461 w 384214"/>
              <a:gd name="connsiteY229" fmla="*/ 108311 h 384636"/>
              <a:gd name="connsiteX230" fmla="*/ 156441 w 384214"/>
              <a:gd name="connsiteY230" fmla="*/ 92397 h 384636"/>
              <a:gd name="connsiteX231" fmla="*/ 163836 w 384214"/>
              <a:gd name="connsiteY231" fmla="*/ 92138 h 384636"/>
              <a:gd name="connsiteX232" fmla="*/ 173562 w 384214"/>
              <a:gd name="connsiteY232" fmla="*/ 99205 h 384636"/>
              <a:gd name="connsiteX233" fmla="*/ 175598 w 384214"/>
              <a:gd name="connsiteY233" fmla="*/ 106333 h 384636"/>
              <a:gd name="connsiteX234" fmla="*/ 166272 w 384214"/>
              <a:gd name="connsiteY234" fmla="*/ 129263 h 384636"/>
              <a:gd name="connsiteX235" fmla="*/ 165568 w 384214"/>
              <a:gd name="connsiteY235" fmla="*/ 130525 h 384636"/>
              <a:gd name="connsiteX236" fmla="*/ 164265 w 384214"/>
              <a:gd name="connsiteY236" fmla="*/ 132327 h 384636"/>
              <a:gd name="connsiteX237" fmla="*/ 171742 w 384214"/>
              <a:gd name="connsiteY237" fmla="*/ 142621 h 384636"/>
              <a:gd name="connsiteX238" fmla="*/ 173879 w 384214"/>
              <a:gd name="connsiteY238" fmla="*/ 141926 h 384636"/>
              <a:gd name="connsiteX239" fmla="*/ 175317 w 384214"/>
              <a:gd name="connsiteY239" fmla="*/ 141647 h 384636"/>
              <a:gd name="connsiteX240" fmla="*/ 193992 w 384214"/>
              <a:gd name="connsiteY240" fmla="*/ 140350 h 384636"/>
              <a:gd name="connsiteX241" fmla="*/ 194089 w 384214"/>
              <a:gd name="connsiteY241" fmla="*/ 140343 h 384636"/>
              <a:gd name="connsiteX242" fmla="*/ 200456 w 384214"/>
              <a:gd name="connsiteY242" fmla="*/ 145974 h 384636"/>
              <a:gd name="connsiteX243" fmla="*/ 194825 w 384214"/>
              <a:gd name="connsiteY243" fmla="*/ 152340 h 384636"/>
              <a:gd name="connsiteX244" fmla="*/ 176890 w 384214"/>
              <a:gd name="connsiteY244" fmla="*/ 153588 h 384636"/>
              <a:gd name="connsiteX245" fmla="*/ 170786 w 384214"/>
              <a:gd name="connsiteY245" fmla="*/ 155568 h 384636"/>
              <a:gd name="connsiteX246" fmla="*/ 163608 w 384214"/>
              <a:gd name="connsiteY246" fmla="*/ 152640 h 384636"/>
              <a:gd name="connsiteX247" fmla="*/ 152228 w 384214"/>
              <a:gd name="connsiteY247" fmla="*/ 136978 h 384636"/>
              <a:gd name="connsiteX248" fmla="*/ 151653 w 384214"/>
              <a:gd name="connsiteY248" fmla="*/ 129242 h 384636"/>
              <a:gd name="connsiteX249" fmla="*/ 155409 w 384214"/>
              <a:gd name="connsiteY249" fmla="*/ 124060 h 384636"/>
              <a:gd name="connsiteX250" fmla="*/ 162686 w 384214"/>
              <a:gd name="connsiteY250" fmla="*/ 106163 h 384636"/>
              <a:gd name="connsiteX251" fmla="*/ 160568 w 384214"/>
              <a:gd name="connsiteY251" fmla="*/ 104622 h 384636"/>
              <a:gd name="connsiteX252" fmla="*/ 145748 w 384214"/>
              <a:gd name="connsiteY252" fmla="*/ 117047 h 384636"/>
              <a:gd name="connsiteX253" fmla="*/ 141968 w 384214"/>
              <a:gd name="connsiteY253" fmla="*/ 122247 h 384636"/>
              <a:gd name="connsiteX254" fmla="*/ 134427 w 384214"/>
              <a:gd name="connsiteY254" fmla="*/ 124093 h 384636"/>
              <a:gd name="connsiteX255" fmla="*/ 116103 w 384214"/>
              <a:gd name="connsiteY255" fmla="*/ 118135 h 384636"/>
              <a:gd name="connsiteX256" fmla="*/ 111097 w 384214"/>
              <a:gd name="connsiteY256" fmla="*/ 112211 h 384636"/>
              <a:gd name="connsiteX257" fmla="*/ 111097 w 384214"/>
              <a:gd name="connsiteY257" fmla="*/ 105787 h 384636"/>
              <a:gd name="connsiteX258" fmla="*/ 106408 w 384214"/>
              <a:gd name="connsiteY258" fmla="*/ 87024 h 384636"/>
              <a:gd name="connsiteX259" fmla="*/ 103772 w 384214"/>
              <a:gd name="connsiteY259" fmla="*/ 87024 h 384636"/>
              <a:gd name="connsiteX260" fmla="*/ 99077 w 384214"/>
              <a:gd name="connsiteY260" fmla="*/ 105787 h 384636"/>
              <a:gd name="connsiteX261" fmla="*/ 99083 w 384214"/>
              <a:gd name="connsiteY261" fmla="*/ 112190 h 384636"/>
              <a:gd name="connsiteX262" fmla="*/ 94065 w 384214"/>
              <a:gd name="connsiteY262" fmla="*/ 118124 h 384636"/>
              <a:gd name="connsiteX263" fmla="*/ 75712 w 384214"/>
              <a:gd name="connsiteY263" fmla="*/ 124066 h 384636"/>
              <a:gd name="connsiteX264" fmla="*/ 68182 w 384214"/>
              <a:gd name="connsiteY264" fmla="*/ 122214 h 384636"/>
              <a:gd name="connsiteX265" fmla="*/ 64426 w 384214"/>
              <a:gd name="connsiteY265" fmla="*/ 117047 h 384636"/>
              <a:gd name="connsiteX266" fmla="*/ 49607 w 384214"/>
              <a:gd name="connsiteY266" fmla="*/ 104622 h 384636"/>
              <a:gd name="connsiteX267" fmla="*/ 47476 w 384214"/>
              <a:gd name="connsiteY267" fmla="*/ 106171 h 384636"/>
              <a:gd name="connsiteX268" fmla="*/ 54707 w 384214"/>
              <a:gd name="connsiteY268" fmla="*/ 124111 h 384636"/>
              <a:gd name="connsiteX269" fmla="*/ 58428 w 384214"/>
              <a:gd name="connsiteY269" fmla="*/ 129237 h 384636"/>
              <a:gd name="connsiteX270" fmla="*/ 57865 w 384214"/>
              <a:gd name="connsiteY270" fmla="*/ 136976 h 384636"/>
              <a:gd name="connsiteX271" fmla="*/ 46491 w 384214"/>
              <a:gd name="connsiteY271" fmla="*/ 152620 h 384636"/>
              <a:gd name="connsiteX272" fmla="*/ 39313 w 384214"/>
              <a:gd name="connsiteY272" fmla="*/ 155542 h 384636"/>
              <a:gd name="connsiteX273" fmla="*/ 33291 w 384214"/>
              <a:gd name="connsiteY273" fmla="*/ 153588 h 384636"/>
              <a:gd name="connsiteX274" fmla="*/ 13993 w 384214"/>
              <a:gd name="connsiteY274" fmla="*/ 152250 h 384636"/>
              <a:gd name="connsiteX275" fmla="*/ 13183 w 384214"/>
              <a:gd name="connsiteY275" fmla="*/ 154753 h 384636"/>
              <a:gd name="connsiteX276" fmla="*/ 29570 w 384214"/>
              <a:gd name="connsiteY276" fmla="*/ 165018 h 384636"/>
              <a:gd name="connsiteX277" fmla="*/ 35638 w 384214"/>
              <a:gd name="connsiteY277" fmla="*/ 166984 h 384636"/>
              <a:gd name="connsiteX278" fmla="*/ 39729 w 384214"/>
              <a:gd name="connsiteY278" fmla="*/ 173572 h 384636"/>
              <a:gd name="connsiteX279" fmla="*/ 39729 w 384214"/>
              <a:gd name="connsiteY279" fmla="*/ 192893 h 384636"/>
              <a:gd name="connsiteX280" fmla="*/ 35638 w 384214"/>
              <a:gd name="connsiteY280" fmla="*/ 199481 h 384636"/>
              <a:gd name="connsiteX281" fmla="*/ 29570 w 384214"/>
              <a:gd name="connsiteY281" fmla="*/ 201450 h 384636"/>
              <a:gd name="connsiteX282" fmla="*/ 13178 w 384214"/>
              <a:gd name="connsiteY282" fmla="*/ 211709 h 384636"/>
              <a:gd name="connsiteX283" fmla="*/ 13993 w 384214"/>
              <a:gd name="connsiteY283" fmla="*/ 214215 h 384636"/>
              <a:gd name="connsiteX284" fmla="*/ 33285 w 384214"/>
              <a:gd name="connsiteY284" fmla="*/ 212880 h 384636"/>
              <a:gd name="connsiteX285" fmla="*/ 39301 w 384214"/>
              <a:gd name="connsiteY285" fmla="*/ 210923 h 384636"/>
              <a:gd name="connsiteX286" fmla="*/ 46485 w 384214"/>
              <a:gd name="connsiteY286" fmla="*/ 213848 h 384636"/>
              <a:gd name="connsiteX287" fmla="*/ 57853 w 384214"/>
              <a:gd name="connsiteY287" fmla="*/ 229489 h 384636"/>
              <a:gd name="connsiteX288" fmla="*/ 58428 w 384214"/>
              <a:gd name="connsiteY288" fmla="*/ 237228 h 384636"/>
              <a:gd name="connsiteX289" fmla="*/ 54707 w 384214"/>
              <a:gd name="connsiteY289" fmla="*/ 242354 h 384636"/>
              <a:gd name="connsiteX290" fmla="*/ 47471 w 384214"/>
              <a:gd name="connsiteY290" fmla="*/ 260293 h 384636"/>
              <a:gd name="connsiteX291" fmla="*/ 49601 w 384214"/>
              <a:gd name="connsiteY291" fmla="*/ 261840 h 384636"/>
              <a:gd name="connsiteX292" fmla="*/ 64427 w 384214"/>
              <a:gd name="connsiteY292" fmla="*/ 249421 h 384636"/>
              <a:gd name="connsiteX293" fmla="*/ 68171 w 384214"/>
              <a:gd name="connsiteY293" fmla="*/ 244259 h 384636"/>
              <a:gd name="connsiteX294" fmla="*/ 75712 w 384214"/>
              <a:gd name="connsiteY294" fmla="*/ 242407 h 384636"/>
              <a:gd name="connsiteX295" fmla="*/ 94130 w 384214"/>
              <a:gd name="connsiteY295" fmla="*/ 248361 h 384636"/>
              <a:gd name="connsiteX296" fmla="*/ 99154 w 384214"/>
              <a:gd name="connsiteY296" fmla="*/ 254289 h 384636"/>
              <a:gd name="connsiteX297" fmla="*/ 99154 w 384214"/>
              <a:gd name="connsiteY297" fmla="*/ 260689 h 384636"/>
              <a:gd name="connsiteX298" fmla="*/ 103790 w 384214"/>
              <a:gd name="connsiteY298" fmla="*/ 279444 h 384636"/>
              <a:gd name="connsiteX299" fmla="*/ 106408 w 384214"/>
              <a:gd name="connsiteY299" fmla="*/ 279444 h 384636"/>
              <a:gd name="connsiteX300" fmla="*/ 111097 w 384214"/>
              <a:gd name="connsiteY300" fmla="*/ 260680 h 384636"/>
              <a:gd name="connsiteX301" fmla="*/ 111097 w 384214"/>
              <a:gd name="connsiteY301" fmla="*/ 254265 h 384636"/>
              <a:gd name="connsiteX302" fmla="*/ 116103 w 384214"/>
              <a:gd name="connsiteY302" fmla="*/ 248341 h 384636"/>
              <a:gd name="connsiteX303" fmla="*/ 134491 w 384214"/>
              <a:gd name="connsiteY303" fmla="*/ 242351 h 384636"/>
              <a:gd name="connsiteX304" fmla="*/ 142039 w 384214"/>
              <a:gd name="connsiteY304" fmla="*/ 244191 h 384636"/>
              <a:gd name="connsiteX305" fmla="*/ 145813 w 384214"/>
              <a:gd name="connsiteY305" fmla="*/ 249379 h 384636"/>
              <a:gd name="connsiteX306" fmla="*/ 160585 w 384214"/>
              <a:gd name="connsiteY306" fmla="*/ 261834 h 384636"/>
              <a:gd name="connsiteX307" fmla="*/ 162704 w 384214"/>
              <a:gd name="connsiteY307" fmla="*/ 260293 h 384636"/>
              <a:gd name="connsiteX308" fmla="*/ 155467 w 384214"/>
              <a:gd name="connsiteY308" fmla="*/ 242357 h 384636"/>
              <a:gd name="connsiteX309" fmla="*/ 151705 w 384214"/>
              <a:gd name="connsiteY309" fmla="*/ 237175 h 384636"/>
              <a:gd name="connsiteX310" fmla="*/ 152274 w 384214"/>
              <a:gd name="connsiteY310" fmla="*/ 229442 h 384636"/>
              <a:gd name="connsiteX311" fmla="*/ 163637 w 384214"/>
              <a:gd name="connsiteY311" fmla="*/ 213766 h 384636"/>
              <a:gd name="connsiteX312" fmla="*/ 171748 w 384214"/>
              <a:gd name="connsiteY312" fmla="*/ 211219 h 384636"/>
              <a:gd name="connsiteX313" fmla="*/ 174295 w 384214"/>
              <a:gd name="connsiteY313" fmla="*/ 219330 h 384636"/>
              <a:gd name="connsiteX314" fmla="*/ 164317 w 384214"/>
              <a:gd name="connsiteY314" fmla="*/ 234082 h 384636"/>
              <a:gd name="connsiteX315" fmla="*/ 165632 w 384214"/>
              <a:gd name="connsiteY315" fmla="*/ 235892 h 384636"/>
              <a:gd name="connsiteX316" fmla="*/ 166342 w 384214"/>
              <a:gd name="connsiteY316" fmla="*/ 237175 h 384636"/>
              <a:gd name="connsiteX317" fmla="*/ 175610 w 384214"/>
              <a:gd name="connsiteY317" fmla="*/ 260149 h 384636"/>
              <a:gd name="connsiteX318" fmla="*/ 173567 w 384214"/>
              <a:gd name="connsiteY318" fmla="*/ 267260 h 384636"/>
              <a:gd name="connsiteX319" fmla="*/ 163842 w 384214"/>
              <a:gd name="connsiteY319" fmla="*/ 274323 h 384636"/>
              <a:gd name="connsiteX320" fmla="*/ 156435 w 384214"/>
              <a:gd name="connsiteY320" fmla="*/ 274056 h 384636"/>
              <a:gd name="connsiteX321" fmla="*/ 137508 w 384214"/>
              <a:gd name="connsiteY321" fmla="*/ 258101 h 384636"/>
              <a:gd name="connsiteX322" fmla="*/ 136522 w 384214"/>
              <a:gd name="connsiteY322" fmla="*/ 257041 h 384636"/>
              <a:gd name="connsiteX323" fmla="*/ 135213 w 384214"/>
              <a:gd name="connsiteY323" fmla="*/ 255239 h 384636"/>
              <a:gd name="connsiteX324" fmla="*/ 123117 w 384214"/>
              <a:gd name="connsiteY324" fmla="*/ 259175 h 384636"/>
              <a:gd name="connsiteX325" fmla="*/ 123117 w 384214"/>
              <a:gd name="connsiteY325" fmla="*/ 261420 h 384636"/>
              <a:gd name="connsiteX326" fmla="*/ 122935 w 384214"/>
              <a:gd name="connsiteY326" fmla="*/ 262875 h 384636"/>
              <a:gd name="connsiteX327" fmla="*/ 116931 w 384214"/>
              <a:gd name="connsiteY327" fmla="*/ 286909 h 384636"/>
              <a:gd name="connsiteX328" fmla="*/ 111103 w 384214"/>
              <a:gd name="connsiteY328" fmla="*/ 291463 h 384636"/>
              <a:gd name="connsiteX329" fmla="*/ 99083 w 384214"/>
              <a:gd name="connsiteY329" fmla="*/ 291463 h 384636"/>
              <a:gd name="connsiteX330" fmla="*/ 93249 w 384214"/>
              <a:gd name="connsiteY330" fmla="*/ 286894 h 384636"/>
              <a:gd name="connsiteX331" fmla="*/ 87310 w 384214"/>
              <a:gd name="connsiteY331" fmla="*/ 262860 h 384636"/>
              <a:gd name="connsiteX332" fmla="*/ 87134 w 384214"/>
              <a:gd name="connsiteY332" fmla="*/ 261420 h 384636"/>
              <a:gd name="connsiteX333" fmla="*/ 87134 w 384214"/>
              <a:gd name="connsiteY333" fmla="*/ 259213 h 384636"/>
              <a:gd name="connsiteX334" fmla="*/ 75014 w 384214"/>
              <a:gd name="connsiteY334" fmla="*/ 255295 h 384636"/>
              <a:gd name="connsiteX335" fmla="*/ 73717 w 384214"/>
              <a:gd name="connsiteY335" fmla="*/ 257082 h 384636"/>
              <a:gd name="connsiteX336" fmla="*/ 72713 w 384214"/>
              <a:gd name="connsiteY336" fmla="*/ 258159 h 384636"/>
              <a:gd name="connsiteX337" fmla="*/ 53727 w 384214"/>
              <a:gd name="connsiteY337" fmla="*/ 274068 h 384636"/>
              <a:gd name="connsiteX338" fmla="*/ 46332 w 384214"/>
              <a:gd name="connsiteY338" fmla="*/ 274323 h 384636"/>
              <a:gd name="connsiteX339" fmla="*/ 36607 w 384214"/>
              <a:gd name="connsiteY339" fmla="*/ 267260 h 384636"/>
              <a:gd name="connsiteX340" fmla="*/ 34564 w 384214"/>
              <a:gd name="connsiteY340" fmla="*/ 260149 h 384636"/>
              <a:gd name="connsiteX341" fmla="*/ 43832 w 384214"/>
              <a:gd name="connsiteY341" fmla="*/ 237175 h 384636"/>
              <a:gd name="connsiteX342" fmla="*/ 44542 w 384214"/>
              <a:gd name="connsiteY342" fmla="*/ 235892 h 384636"/>
              <a:gd name="connsiteX343" fmla="*/ 45815 w 384214"/>
              <a:gd name="connsiteY343" fmla="*/ 234141 h 384636"/>
              <a:gd name="connsiteX344" fmla="*/ 38356 w 384214"/>
              <a:gd name="connsiteY344" fmla="*/ 223873 h 384636"/>
              <a:gd name="connsiteX345" fmla="*/ 36302 w 384214"/>
              <a:gd name="connsiteY345" fmla="*/ 224542 h 384636"/>
              <a:gd name="connsiteX346" fmla="*/ 34858 w 384214"/>
              <a:gd name="connsiteY346" fmla="*/ 224820 h 384636"/>
              <a:gd name="connsiteX347" fmla="*/ 10143 w 384214"/>
              <a:gd name="connsiteY347" fmla="*/ 226528 h 384636"/>
              <a:gd name="connsiteX348" fmla="*/ 4010 w 384214"/>
              <a:gd name="connsiteY348" fmla="*/ 222391 h 384636"/>
              <a:gd name="connsiteX349" fmla="*/ 295 w 384214"/>
              <a:gd name="connsiteY349" fmla="*/ 210961 h 384636"/>
              <a:gd name="connsiteX350" fmla="*/ 2825 w 384214"/>
              <a:gd name="connsiteY350" fmla="*/ 204009 h 384636"/>
              <a:gd name="connsiteX351" fmla="*/ 23824 w 384214"/>
              <a:gd name="connsiteY351" fmla="*/ 190868 h 384636"/>
              <a:gd name="connsiteX352" fmla="*/ 25157 w 384214"/>
              <a:gd name="connsiteY352" fmla="*/ 190246 h 384636"/>
              <a:gd name="connsiteX353" fmla="*/ 27222 w 384214"/>
              <a:gd name="connsiteY353" fmla="*/ 189574 h 384636"/>
              <a:gd name="connsiteX354" fmla="*/ 26917 w 384214"/>
              <a:gd name="connsiteY354" fmla="*/ 183238 h 384636"/>
              <a:gd name="connsiteX355" fmla="*/ 27222 w 384214"/>
              <a:gd name="connsiteY355" fmla="*/ 176891 h 384636"/>
              <a:gd name="connsiteX356" fmla="*/ 25157 w 384214"/>
              <a:gd name="connsiteY356" fmla="*/ 176222 h 384636"/>
              <a:gd name="connsiteX357" fmla="*/ 23824 w 384214"/>
              <a:gd name="connsiteY357" fmla="*/ 175599 h 384636"/>
              <a:gd name="connsiteX358" fmla="*/ 2831 w 384214"/>
              <a:gd name="connsiteY358" fmla="*/ 162453 h 384636"/>
              <a:gd name="connsiteX359" fmla="*/ 301 w 384214"/>
              <a:gd name="connsiteY359" fmla="*/ 155504 h 384636"/>
              <a:gd name="connsiteX360" fmla="*/ 4010 w 384214"/>
              <a:gd name="connsiteY360" fmla="*/ 144074 h 384636"/>
              <a:gd name="connsiteX361" fmla="*/ 10143 w 384214"/>
              <a:gd name="connsiteY361" fmla="*/ 139933 h 384636"/>
              <a:gd name="connsiteX362" fmla="*/ 34858 w 384214"/>
              <a:gd name="connsiteY362" fmla="*/ 141647 h 384636"/>
              <a:gd name="connsiteX363" fmla="*/ 36296 w 384214"/>
              <a:gd name="connsiteY363" fmla="*/ 141926 h 384636"/>
              <a:gd name="connsiteX364" fmla="*/ 38362 w 384214"/>
              <a:gd name="connsiteY364" fmla="*/ 142595 h 384636"/>
              <a:gd name="connsiteX365" fmla="*/ 45822 w 384214"/>
              <a:gd name="connsiteY365" fmla="*/ 132330 h 384636"/>
              <a:gd name="connsiteX366" fmla="*/ 44548 w 384214"/>
              <a:gd name="connsiteY366" fmla="*/ 130578 h 384636"/>
              <a:gd name="connsiteX367" fmla="*/ 43832 w 384214"/>
              <a:gd name="connsiteY367" fmla="*/ 129293 h 384636"/>
              <a:gd name="connsiteX368" fmla="*/ 34571 w 384214"/>
              <a:gd name="connsiteY368" fmla="*/ 106315 h 384636"/>
              <a:gd name="connsiteX369" fmla="*/ 36613 w 384214"/>
              <a:gd name="connsiteY369" fmla="*/ 99205 h 384636"/>
              <a:gd name="connsiteX370" fmla="*/ 46338 w 384214"/>
              <a:gd name="connsiteY370" fmla="*/ 92138 h 384636"/>
              <a:gd name="connsiteX371" fmla="*/ 53733 w 384214"/>
              <a:gd name="connsiteY371" fmla="*/ 92397 h 384636"/>
              <a:gd name="connsiteX372" fmla="*/ 72714 w 384214"/>
              <a:gd name="connsiteY372" fmla="*/ 108311 h 384636"/>
              <a:gd name="connsiteX373" fmla="*/ 73711 w 384214"/>
              <a:gd name="connsiteY373" fmla="*/ 109382 h 384636"/>
              <a:gd name="connsiteX374" fmla="*/ 75020 w 384214"/>
              <a:gd name="connsiteY374" fmla="*/ 111178 h 384636"/>
              <a:gd name="connsiteX375" fmla="*/ 87058 w 384214"/>
              <a:gd name="connsiteY375" fmla="*/ 107281 h 384636"/>
              <a:gd name="connsiteX376" fmla="*/ 87058 w 384214"/>
              <a:gd name="connsiteY376" fmla="*/ 105053 h 384636"/>
              <a:gd name="connsiteX377" fmla="*/ 87239 w 384214"/>
              <a:gd name="connsiteY377" fmla="*/ 103589 h 384636"/>
              <a:gd name="connsiteX378" fmla="*/ 93255 w 384214"/>
              <a:gd name="connsiteY378" fmla="*/ 79555 h 384636"/>
              <a:gd name="connsiteX379" fmla="*/ 99083 w 384214"/>
              <a:gd name="connsiteY379" fmla="*/ 75004 h 384636"/>
              <a:gd name="connsiteX380" fmla="*/ 272678 w 384214"/>
              <a:gd name="connsiteY380" fmla="*/ 20392 h 384636"/>
              <a:gd name="connsiteX381" fmla="*/ 272678 w 384214"/>
              <a:gd name="connsiteY381" fmla="*/ 65334 h 384636"/>
              <a:gd name="connsiteX382" fmla="*/ 318174 w 384214"/>
              <a:gd name="connsiteY382" fmla="*/ 65334 h 384636"/>
              <a:gd name="connsiteX383" fmla="*/ 54572 w 384214"/>
              <a:gd name="connsiteY383" fmla="*/ 0 h 384636"/>
              <a:gd name="connsiteX384" fmla="*/ 269133 w 384214"/>
              <a:gd name="connsiteY384" fmla="*/ 0 h 384636"/>
              <a:gd name="connsiteX385" fmla="*/ 270908 w 384214"/>
              <a:gd name="connsiteY385" fmla="*/ 1753 h 384636"/>
              <a:gd name="connsiteX386" fmla="*/ 270926 w 384214"/>
              <a:gd name="connsiteY386" fmla="*/ 1771 h 384636"/>
              <a:gd name="connsiteX387" fmla="*/ 338013 w 384214"/>
              <a:gd name="connsiteY387" fmla="*/ 68035 h 384636"/>
              <a:gd name="connsiteX388" fmla="*/ 338013 w 384214"/>
              <a:gd name="connsiteY388" fmla="*/ 114122 h 384636"/>
              <a:gd name="connsiteX389" fmla="*/ 325993 w 384214"/>
              <a:gd name="connsiteY389" fmla="*/ 114122 h 384636"/>
              <a:gd name="connsiteX390" fmla="*/ 325993 w 384214"/>
              <a:gd name="connsiteY390" fmla="*/ 77355 h 384636"/>
              <a:gd name="connsiteX391" fmla="*/ 266668 w 384214"/>
              <a:gd name="connsiteY391" fmla="*/ 77355 h 384636"/>
              <a:gd name="connsiteX392" fmla="*/ 266665 w 384214"/>
              <a:gd name="connsiteY392" fmla="*/ 77355 h 384636"/>
              <a:gd name="connsiteX393" fmla="*/ 260658 w 384214"/>
              <a:gd name="connsiteY393" fmla="*/ 71345 h 384636"/>
              <a:gd name="connsiteX394" fmla="*/ 260658 w 384214"/>
              <a:gd name="connsiteY394" fmla="*/ 12020 h 384636"/>
              <a:gd name="connsiteX395" fmla="*/ 66592 w 384214"/>
              <a:gd name="connsiteY395" fmla="*/ 12020 h 384636"/>
              <a:gd name="connsiteX396" fmla="*/ 66592 w 384214"/>
              <a:gd name="connsiteY396" fmla="*/ 82681 h 384636"/>
              <a:gd name="connsiteX397" fmla="*/ 54572 w 384214"/>
              <a:gd name="connsiteY397" fmla="*/ 82681 h 3846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</a:cxnLst>
            <a:rect l="l" t="t" r="r" b="b"/>
            <a:pathLst>
              <a:path w="384214" h="384636">
                <a:moveTo>
                  <a:pt x="54571" y="283927"/>
                </a:moveTo>
                <a:lnTo>
                  <a:pt x="66591" y="283927"/>
                </a:lnTo>
                <a:lnTo>
                  <a:pt x="66591" y="372616"/>
                </a:lnTo>
                <a:lnTo>
                  <a:pt x="325991" y="372616"/>
                </a:lnTo>
                <a:lnTo>
                  <a:pt x="325991" y="321574"/>
                </a:lnTo>
                <a:lnTo>
                  <a:pt x="338011" y="321574"/>
                </a:lnTo>
                <a:lnTo>
                  <a:pt x="338011" y="384636"/>
                </a:lnTo>
                <a:lnTo>
                  <a:pt x="54571" y="384636"/>
                </a:lnTo>
                <a:close/>
                <a:moveTo>
                  <a:pt x="206048" y="221148"/>
                </a:moveTo>
                <a:cubicBezTo>
                  <a:pt x="209212" y="220144"/>
                  <a:pt x="212590" y="221896"/>
                  <a:pt x="213593" y="225060"/>
                </a:cubicBezTo>
                <a:cubicBezTo>
                  <a:pt x="214596" y="228224"/>
                  <a:pt x="212845" y="231602"/>
                  <a:pt x="209681" y="232606"/>
                </a:cubicBezTo>
                <a:lnTo>
                  <a:pt x="203107" y="234743"/>
                </a:lnTo>
                <a:cubicBezTo>
                  <a:pt x="202680" y="235130"/>
                  <a:pt x="202197" y="235451"/>
                  <a:pt x="201676" y="235696"/>
                </a:cubicBezTo>
                <a:lnTo>
                  <a:pt x="186404" y="241956"/>
                </a:lnTo>
                <a:cubicBezTo>
                  <a:pt x="185682" y="242253"/>
                  <a:pt x="184907" y="242407"/>
                  <a:pt x="184126" y="242408"/>
                </a:cubicBezTo>
                <a:cubicBezTo>
                  <a:pt x="181689" y="242406"/>
                  <a:pt x="179495" y="240933"/>
                  <a:pt x="178570" y="238678"/>
                </a:cubicBezTo>
                <a:cubicBezTo>
                  <a:pt x="177309" y="235606"/>
                  <a:pt x="178777" y="232093"/>
                  <a:pt x="181849" y="230833"/>
                </a:cubicBezTo>
                <a:lnTo>
                  <a:pt x="197086" y="224588"/>
                </a:lnTo>
                <a:cubicBezTo>
                  <a:pt x="197699" y="224042"/>
                  <a:pt x="198418" y="223629"/>
                  <a:pt x="199198" y="223373"/>
                </a:cubicBezTo>
                <a:lnTo>
                  <a:pt x="205972" y="221172"/>
                </a:lnTo>
                <a:cubicBezTo>
                  <a:pt x="205997" y="221164"/>
                  <a:pt x="206022" y="221156"/>
                  <a:pt x="206048" y="221148"/>
                </a:cubicBezTo>
                <a:close/>
                <a:moveTo>
                  <a:pt x="279082" y="198325"/>
                </a:moveTo>
                <a:cubicBezTo>
                  <a:pt x="269129" y="198336"/>
                  <a:pt x="261063" y="206402"/>
                  <a:pt x="261052" y="216355"/>
                </a:cubicBezTo>
                <a:cubicBezTo>
                  <a:pt x="261052" y="226312"/>
                  <a:pt x="269124" y="234384"/>
                  <a:pt x="279082" y="234384"/>
                </a:cubicBezTo>
                <a:cubicBezTo>
                  <a:pt x="289039" y="234384"/>
                  <a:pt x="297111" y="226312"/>
                  <a:pt x="297111" y="216355"/>
                </a:cubicBezTo>
                <a:cubicBezTo>
                  <a:pt x="297111" y="206397"/>
                  <a:pt x="289039" y="198325"/>
                  <a:pt x="279082" y="198325"/>
                </a:cubicBezTo>
                <a:close/>
                <a:moveTo>
                  <a:pt x="279082" y="186305"/>
                </a:moveTo>
                <a:cubicBezTo>
                  <a:pt x="295678" y="186305"/>
                  <a:pt x="309131" y="199759"/>
                  <a:pt x="309131" y="216355"/>
                </a:cubicBezTo>
                <a:cubicBezTo>
                  <a:pt x="309131" y="232951"/>
                  <a:pt x="295678" y="246404"/>
                  <a:pt x="279082" y="246404"/>
                </a:cubicBezTo>
                <a:cubicBezTo>
                  <a:pt x="262494" y="246385"/>
                  <a:pt x="249052" y="232942"/>
                  <a:pt x="249032" y="216355"/>
                </a:cubicBezTo>
                <a:cubicBezTo>
                  <a:pt x="249032" y="199759"/>
                  <a:pt x="262486" y="186305"/>
                  <a:pt x="279082" y="186305"/>
                </a:cubicBezTo>
                <a:close/>
                <a:moveTo>
                  <a:pt x="105041" y="165197"/>
                </a:moveTo>
                <a:cubicBezTo>
                  <a:pt x="95083" y="165197"/>
                  <a:pt x="87011" y="173269"/>
                  <a:pt x="87011" y="183227"/>
                </a:cubicBezTo>
                <a:cubicBezTo>
                  <a:pt x="87011" y="193184"/>
                  <a:pt x="95083" y="201256"/>
                  <a:pt x="105041" y="201256"/>
                </a:cubicBezTo>
                <a:cubicBezTo>
                  <a:pt x="114994" y="201245"/>
                  <a:pt x="123059" y="193180"/>
                  <a:pt x="123070" y="183227"/>
                </a:cubicBezTo>
                <a:cubicBezTo>
                  <a:pt x="123070" y="173269"/>
                  <a:pt x="114998" y="165197"/>
                  <a:pt x="105041" y="165197"/>
                </a:cubicBezTo>
                <a:close/>
                <a:moveTo>
                  <a:pt x="194726" y="156149"/>
                </a:moveTo>
                <a:cubicBezTo>
                  <a:pt x="197545" y="154395"/>
                  <a:pt x="201251" y="155259"/>
                  <a:pt x="203005" y="158077"/>
                </a:cubicBezTo>
                <a:cubicBezTo>
                  <a:pt x="204758" y="160895"/>
                  <a:pt x="203895" y="164602"/>
                  <a:pt x="201077" y="166355"/>
                </a:cubicBezTo>
                <a:lnTo>
                  <a:pt x="186316" y="175532"/>
                </a:lnTo>
                <a:cubicBezTo>
                  <a:pt x="185904" y="175787"/>
                  <a:pt x="185462" y="175992"/>
                  <a:pt x="185001" y="176142"/>
                </a:cubicBezTo>
                <a:lnTo>
                  <a:pt x="182859" y="176840"/>
                </a:lnTo>
                <a:cubicBezTo>
                  <a:pt x="183070" y="179082"/>
                  <a:pt x="183170" y="181178"/>
                  <a:pt x="183170" y="183238"/>
                </a:cubicBezTo>
                <a:cubicBezTo>
                  <a:pt x="183170" y="185271"/>
                  <a:pt x="183070" y="187340"/>
                  <a:pt x="182871" y="189547"/>
                </a:cubicBezTo>
                <a:lnTo>
                  <a:pt x="185019" y="190245"/>
                </a:lnTo>
                <a:cubicBezTo>
                  <a:pt x="185425" y="190377"/>
                  <a:pt x="185817" y="190551"/>
                  <a:pt x="186187" y="190765"/>
                </a:cubicBezTo>
                <a:lnTo>
                  <a:pt x="203172" y="200636"/>
                </a:lnTo>
                <a:cubicBezTo>
                  <a:pt x="206042" y="202306"/>
                  <a:pt x="207016" y="205986"/>
                  <a:pt x="205346" y="208856"/>
                </a:cubicBezTo>
                <a:cubicBezTo>
                  <a:pt x="203677" y="211726"/>
                  <a:pt x="199997" y="212700"/>
                  <a:pt x="197127" y="211031"/>
                </a:cubicBezTo>
                <a:lnTo>
                  <a:pt x="180699" y="201482"/>
                </a:lnTo>
                <a:lnTo>
                  <a:pt x="174454" y="199454"/>
                </a:lnTo>
                <a:cubicBezTo>
                  <a:pt x="171664" y="198550"/>
                  <a:pt x="169935" y="195764"/>
                  <a:pt x="170363" y="192863"/>
                </a:cubicBezTo>
                <a:cubicBezTo>
                  <a:pt x="171416" y="186462"/>
                  <a:pt x="171411" y="179932"/>
                  <a:pt x="170351" y="173533"/>
                </a:cubicBezTo>
                <a:cubicBezTo>
                  <a:pt x="169922" y="170634"/>
                  <a:pt x="171649" y="167848"/>
                  <a:pt x="174436" y="166942"/>
                </a:cubicBezTo>
                <a:lnTo>
                  <a:pt x="180588" y="164938"/>
                </a:lnTo>
                <a:close/>
                <a:moveTo>
                  <a:pt x="105041" y="153177"/>
                </a:moveTo>
                <a:cubicBezTo>
                  <a:pt x="121628" y="153197"/>
                  <a:pt x="135071" y="166639"/>
                  <a:pt x="135090" y="183227"/>
                </a:cubicBezTo>
                <a:cubicBezTo>
                  <a:pt x="135090" y="199823"/>
                  <a:pt x="121637" y="213276"/>
                  <a:pt x="105041" y="213276"/>
                </a:cubicBezTo>
                <a:cubicBezTo>
                  <a:pt x="88445" y="213276"/>
                  <a:pt x="74991" y="199823"/>
                  <a:pt x="74991" y="183227"/>
                </a:cubicBezTo>
                <a:cubicBezTo>
                  <a:pt x="74991" y="166631"/>
                  <a:pt x="88445" y="153177"/>
                  <a:pt x="105041" y="153177"/>
                </a:cubicBezTo>
                <a:close/>
                <a:moveTo>
                  <a:pt x="273125" y="108132"/>
                </a:moveTo>
                <a:lnTo>
                  <a:pt x="285145" y="108132"/>
                </a:lnTo>
                <a:cubicBezTo>
                  <a:pt x="287903" y="108131"/>
                  <a:pt x="290307" y="110010"/>
                  <a:pt x="290973" y="112686"/>
                </a:cubicBezTo>
                <a:lnTo>
                  <a:pt x="296977" y="136717"/>
                </a:lnTo>
                <a:cubicBezTo>
                  <a:pt x="297099" y="137193"/>
                  <a:pt x="297160" y="137682"/>
                  <a:pt x="297159" y="138173"/>
                </a:cubicBezTo>
                <a:lnTo>
                  <a:pt x="297159" y="140427"/>
                </a:lnTo>
                <a:cubicBezTo>
                  <a:pt x="301265" y="141400"/>
                  <a:pt x="305285" y="142706"/>
                  <a:pt x="309179" y="144333"/>
                </a:cubicBezTo>
                <a:lnTo>
                  <a:pt x="310505" y="142507"/>
                </a:lnTo>
                <a:cubicBezTo>
                  <a:pt x="310793" y="142111"/>
                  <a:pt x="311128" y="141751"/>
                  <a:pt x="311503" y="141436"/>
                </a:cubicBezTo>
                <a:lnTo>
                  <a:pt x="330484" y="125525"/>
                </a:lnTo>
                <a:cubicBezTo>
                  <a:pt x="332599" y="123756"/>
                  <a:pt x="335645" y="123650"/>
                  <a:pt x="337879" y="125267"/>
                </a:cubicBezTo>
                <a:lnTo>
                  <a:pt x="347604" y="132333"/>
                </a:lnTo>
                <a:cubicBezTo>
                  <a:pt x="349839" y="133959"/>
                  <a:pt x="350679" y="136899"/>
                  <a:pt x="349640" y="139461"/>
                </a:cubicBezTo>
                <a:lnTo>
                  <a:pt x="340314" y="162391"/>
                </a:lnTo>
                <a:cubicBezTo>
                  <a:pt x="340130" y="162838"/>
                  <a:pt x="339894" y="163262"/>
                  <a:pt x="339610" y="163653"/>
                </a:cubicBezTo>
                <a:lnTo>
                  <a:pt x="338307" y="165455"/>
                </a:lnTo>
                <a:cubicBezTo>
                  <a:pt x="341076" y="168676"/>
                  <a:pt x="343576" y="172118"/>
                  <a:pt x="345784" y="175747"/>
                </a:cubicBezTo>
                <a:lnTo>
                  <a:pt x="347921" y="175051"/>
                </a:lnTo>
                <a:cubicBezTo>
                  <a:pt x="348386" y="174898"/>
                  <a:pt x="348869" y="174805"/>
                  <a:pt x="349358" y="174772"/>
                </a:cubicBezTo>
                <a:lnTo>
                  <a:pt x="374073" y="173058"/>
                </a:lnTo>
                <a:cubicBezTo>
                  <a:pt x="376822" y="172882"/>
                  <a:pt x="379343" y="174584"/>
                  <a:pt x="380206" y="177199"/>
                </a:cubicBezTo>
                <a:lnTo>
                  <a:pt x="383915" y="188632"/>
                </a:lnTo>
                <a:cubicBezTo>
                  <a:pt x="384769" y="191260"/>
                  <a:pt x="383720" y="194131"/>
                  <a:pt x="381374" y="195590"/>
                </a:cubicBezTo>
                <a:lnTo>
                  <a:pt x="360357" y="208660"/>
                </a:lnTo>
                <a:cubicBezTo>
                  <a:pt x="359946" y="208918"/>
                  <a:pt x="359504" y="209124"/>
                  <a:pt x="359042" y="209274"/>
                </a:cubicBezTo>
                <a:lnTo>
                  <a:pt x="356900" y="209966"/>
                </a:lnTo>
                <a:cubicBezTo>
                  <a:pt x="357111" y="212208"/>
                  <a:pt x="357211" y="214306"/>
                  <a:pt x="357211" y="216363"/>
                </a:cubicBezTo>
                <a:cubicBezTo>
                  <a:pt x="357211" y="218397"/>
                  <a:pt x="357111" y="220469"/>
                  <a:pt x="356912" y="222676"/>
                </a:cubicBezTo>
                <a:lnTo>
                  <a:pt x="359060" y="223374"/>
                </a:lnTo>
                <a:cubicBezTo>
                  <a:pt x="359528" y="223526"/>
                  <a:pt x="359975" y="223735"/>
                  <a:pt x="360392" y="223996"/>
                </a:cubicBezTo>
                <a:lnTo>
                  <a:pt x="381392" y="237134"/>
                </a:lnTo>
                <a:cubicBezTo>
                  <a:pt x="383729" y="238597"/>
                  <a:pt x="384772" y="241463"/>
                  <a:pt x="383921" y="244086"/>
                </a:cubicBezTo>
                <a:lnTo>
                  <a:pt x="380206" y="255519"/>
                </a:lnTo>
                <a:cubicBezTo>
                  <a:pt x="379345" y="258144"/>
                  <a:pt x="376811" y="259848"/>
                  <a:pt x="374055" y="259657"/>
                </a:cubicBezTo>
                <a:lnTo>
                  <a:pt x="349364" y="257872"/>
                </a:lnTo>
                <a:cubicBezTo>
                  <a:pt x="348881" y="257837"/>
                  <a:pt x="348404" y="257743"/>
                  <a:pt x="347944" y="257594"/>
                </a:cubicBezTo>
                <a:lnTo>
                  <a:pt x="345825" y="256907"/>
                </a:lnTo>
                <a:cubicBezTo>
                  <a:pt x="343619" y="260538"/>
                  <a:pt x="341122" y="263983"/>
                  <a:pt x="338359" y="267210"/>
                </a:cubicBezTo>
                <a:lnTo>
                  <a:pt x="339674" y="269021"/>
                </a:lnTo>
                <a:cubicBezTo>
                  <a:pt x="339961" y="269419"/>
                  <a:pt x="340199" y="269849"/>
                  <a:pt x="340384" y="270303"/>
                </a:cubicBezTo>
                <a:lnTo>
                  <a:pt x="349651" y="293275"/>
                </a:lnTo>
                <a:cubicBezTo>
                  <a:pt x="350679" y="295833"/>
                  <a:pt x="349838" y="298762"/>
                  <a:pt x="347609" y="300385"/>
                </a:cubicBezTo>
                <a:lnTo>
                  <a:pt x="337885" y="307451"/>
                </a:lnTo>
                <a:cubicBezTo>
                  <a:pt x="335647" y="309073"/>
                  <a:pt x="332593" y="308963"/>
                  <a:pt x="330478" y="307184"/>
                </a:cubicBezTo>
                <a:lnTo>
                  <a:pt x="311550" y="291229"/>
                </a:lnTo>
                <a:cubicBezTo>
                  <a:pt x="311180" y="290917"/>
                  <a:pt x="310849" y="290561"/>
                  <a:pt x="310564" y="290170"/>
                </a:cubicBezTo>
                <a:lnTo>
                  <a:pt x="309255" y="288368"/>
                </a:lnTo>
                <a:cubicBezTo>
                  <a:pt x="305338" y="290009"/>
                  <a:pt x="301292" y="291325"/>
                  <a:pt x="297159" y="292303"/>
                </a:cubicBezTo>
                <a:lnTo>
                  <a:pt x="297159" y="294548"/>
                </a:lnTo>
                <a:cubicBezTo>
                  <a:pt x="297160" y="295039"/>
                  <a:pt x="297099" y="295528"/>
                  <a:pt x="296977" y="296004"/>
                </a:cubicBezTo>
                <a:lnTo>
                  <a:pt x="290973" y="320035"/>
                </a:lnTo>
                <a:cubicBezTo>
                  <a:pt x="290308" y="322711"/>
                  <a:pt x="287904" y="324590"/>
                  <a:pt x="285145" y="324589"/>
                </a:cubicBezTo>
                <a:lnTo>
                  <a:pt x="273125" y="324589"/>
                </a:lnTo>
                <a:cubicBezTo>
                  <a:pt x="270362" y="324588"/>
                  <a:pt x="267955" y="322703"/>
                  <a:pt x="267292" y="320020"/>
                </a:cubicBezTo>
                <a:lnTo>
                  <a:pt x="261358" y="295989"/>
                </a:lnTo>
                <a:cubicBezTo>
                  <a:pt x="261241" y="295520"/>
                  <a:pt x="261182" y="295038"/>
                  <a:pt x="261182" y="294554"/>
                </a:cubicBezTo>
                <a:lnTo>
                  <a:pt x="261182" y="292338"/>
                </a:lnTo>
                <a:cubicBezTo>
                  <a:pt x="257042" y="291368"/>
                  <a:pt x="252988" y="290059"/>
                  <a:pt x="249062" y="288424"/>
                </a:cubicBezTo>
                <a:lnTo>
                  <a:pt x="247765" y="290208"/>
                </a:lnTo>
                <a:cubicBezTo>
                  <a:pt x="247476" y="290607"/>
                  <a:pt x="247139" y="290970"/>
                  <a:pt x="246762" y="291288"/>
                </a:cubicBezTo>
                <a:lnTo>
                  <a:pt x="227769" y="307196"/>
                </a:lnTo>
                <a:cubicBezTo>
                  <a:pt x="225656" y="308970"/>
                  <a:pt x="222605" y="309075"/>
                  <a:pt x="220374" y="307451"/>
                </a:cubicBezTo>
                <a:lnTo>
                  <a:pt x="210649" y="300385"/>
                </a:lnTo>
                <a:cubicBezTo>
                  <a:pt x="208420" y="298762"/>
                  <a:pt x="207579" y="295833"/>
                  <a:pt x="208607" y="293275"/>
                </a:cubicBezTo>
                <a:lnTo>
                  <a:pt x="217874" y="270303"/>
                </a:lnTo>
                <a:cubicBezTo>
                  <a:pt x="218058" y="269847"/>
                  <a:pt x="218299" y="269415"/>
                  <a:pt x="218590" y="269018"/>
                </a:cubicBezTo>
                <a:lnTo>
                  <a:pt x="219864" y="267266"/>
                </a:lnTo>
                <a:cubicBezTo>
                  <a:pt x="217102" y="264052"/>
                  <a:pt x="214605" y="260619"/>
                  <a:pt x="212398" y="257001"/>
                </a:cubicBezTo>
                <a:lnTo>
                  <a:pt x="210344" y="257670"/>
                </a:lnTo>
                <a:cubicBezTo>
                  <a:pt x="209855" y="257828"/>
                  <a:pt x="209348" y="257923"/>
                  <a:pt x="208836" y="257955"/>
                </a:cubicBezTo>
                <a:lnTo>
                  <a:pt x="187983" y="259172"/>
                </a:lnTo>
                <a:cubicBezTo>
                  <a:pt x="184668" y="259367"/>
                  <a:pt x="181824" y="256838"/>
                  <a:pt x="181630" y="253524"/>
                </a:cubicBezTo>
                <a:cubicBezTo>
                  <a:pt x="181435" y="250209"/>
                  <a:pt x="183964" y="247365"/>
                  <a:pt x="187278" y="247170"/>
                </a:cubicBezTo>
                <a:lnTo>
                  <a:pt x="207362" y="245999"/>
                </a:lnTo>
                <a:lnTo>
                  <a:pt x="213343" y="244051"/>
                </a:lnTo>
                <a:cubicBezTo>
                  <a:pt x="216131" y="243142"/>
                  <a:pt x="219167" y="244379"/>
                  <a:pt x="220527" y="246977"/>
                </a:cubicBezTo>
                <a:cubicBezTo>
                  <a:pt x="223532" y="252719"/>
                  <a:pt x="227364" y="257989"/>
                  <a:pt x="231901" y="262618"/>
                </a:cubicBezTo>
                <a:cubicBezTo>
                  <a:pt x="233955" y="264713"/>
                  <a:pt x="234196" y="267986"/>
                  <a:pt x="232470" y="270359"/>
                </a:cubicBezTo>
                <a:lnTo>
                  <a:pt x="228743" y="275485"/>
                </a:lnTo>
                <a:lnTo>
                  <a:pt x="221513" y="293418"/>
                </a:lnTo>
                <a:lnTo>
                  <a:pt x="223643" y="294968"/>
                </a:lnTo>
                <a:lnTo>
                  <a:pt x="238468" y="282552"/>
                </a:lnTo>
                <a:lnTo>
                  <a:pt x="242213" y="277390"/>
                </a:lnTo>
                <a:cubicBezTo>
                  <a:pt x="243935" y="275011"/>
                  <a:pt x="247125" y="274226"/>
                  <a:pt x="249754" y="275535"/>
                </a:cubicBezTo>
                <a:cubicBezTo>
                  <a:pt x="255565" y="278419"/>
                  <a:pt x="261772" y="280426"/>
                  <a:pt x="268171" y="281489"/>
                </a:cubicBezTo>
                <a:cubicBezTo>
                  <a:pt x="271069" y="281969"/>
                  <a:pt x="273194" y="284474"/>
                  <a:pt x="273195" y="287411"/>
                </a:cubicBezTo>
                <a:lnTo>
                  <a:pt x="273201" y="293814"/>
                </a:lnTo>
                <a:lnTo>
                  <a:pt x="277832" y="312569"/>
                </a:lnTo>
                <a:lnTo>
                  <a:pt x="280450" y="312569"/>
                </a:lnTo>
                <a:lnTo>
                  <a:pt x="285139" y="293809"/>
                </a:lnTo>
                <a:lnTo>
                  <a:pt x="285139" y="287391"/>
                </a:lnTo>
                <a:cubicBezTo>
                  <a:pt x="285140" y="284457"/>
                  <a:pt x="287258" y="281952"/>
                  <a:pt x="290151" y="281463"/>
                </a:cubicBezTo>
                <a:cubicBezTo>
                  <a:pt x="296542" y="280391"/>
                  <a:pt x="302737" y="278375"/>
                  <a:pt x="308533" y="275480"/>
                </a:cubicBezTo>
                <a:cubicBezTo>
                  <a:pt x="311160" y="274162"/>
                  <a:pt x="314355" y="274941"/>
                  <a:pt x="316081" y="277319"/>
                </a:cubicBezTo>
                <a:lnTo>
                  <a:pt x="319855" y="282508"/>
                </a:lnTo>
                <a:lnTo>
                  <a:pt x="334627" y="294959"/>
                </a:lnTo>
                <a:lnTo>
                  <a:pt x="336746" y="293418"/>
                </a:lnTo>
                <a:lnTo>
                  <a:pt x="329509" y="275485"/>
                </a:lnTo>
                <a:lnTo>
                  <a:pt x="325747" y="270303"/>
                </a:lnTo>
                <a:cubicBezTo>
                  <a:pt x="324028" y="267931"/>
                  <a:pt x="324268" y="264665"/>
                  <a:pt x="326316" y="262571"/>
                </a:cubicBezTo>
                <a:cubicBezTo>
                  <a:pt x="330851" y="257930"/>
                  <a:pt x="334680" y="252648"/>
                  <a:pt x="337679" y="246894"/>
                </a:cubicBezTo>
                <a:cubicBezTo>
                  <a:pt x="339038" y="244296"/>
                  <a:pt x="342073" y="243056"/>
                  <a:pt x="344863" y="243960"/>
                </a:cubicBezTo>
                <a:lnTo>
                  <a:pt x="350961" y="245934"/>
                </a:lnTo>
                <a:lnTo>
                  <a:pt x="370229" y="247328"/>
                </a:lnTo>
                <a:lnTo>
                  <a:pt x="371039" y="244834"/>
                </a:lnTo>
                <a:lnTo>
                  <a:pt x="354647" y="234578"/>
                </a:lnTo>
                <a:lnTo>
                  <a:pt x="348496" y="232580"/>
                </a:lnTo>
                <a:cubicBezTo>
                  <a:pt x="345707" y="231674"/>
                  <a:pt x="343979" y="228889"/>
                  <a:pt x="344405" y="225989"/>
                </a:cubicBezTo>
                <a:cubicBezTo>
                  <a:pt x="345458" y="219588"/>
                  <a:pt x="345453" y="213058"/>
                  <a:pt x="344393" y="206659"/>
                </a:cubicBezTo>
                <a:cubicBezTo>
                  <a:pt x="343964" y="203759"/>
                  <a:pt x="345690" y="200972"/>
                  <a:pt x="348478" y="200065"/>
                </a:cubicBezTo>
                <a:lnTo>
                  <a:pt x="354629" y="198067"/>
                </a:lnTo>
                <a:lnTo>
                  <a:pt x="371033" y="187866"/>
                </a:lnTo>
                <a:lnTo>
                  <a:pt x="370223" y="185375"/>
                </a:lnTo>
                <a:lnTo>
                  <a:pt x="350931" y="186713"/>
                </a:lnTo>
                <a:lnTo>
                  <a:pt x="344827" y="188694"/>
                </a:lnTo>
                <a:cubicBezTo>
                  <a:pt x="342040" y="189601"/>
                  <a:pt x="339006" y="188363"/>
                  <a:pt x="337649" y="185765"/>
                </a:cubicBezTo>
                <a:cubicBezTo>
                  <a:pt x="334643" y="180016"/>
                  <a:pt x="330809" y="174740"/>
                  <a:pt x="326269" y="170106"/>
                </a:cubicBezTo>
                <a:cubicBezTo>
                  <a:pt x="324216" y="168013"/>
                  <a:pt x="323973" y="164744"/>
                  <a:pt x="325694" y="162371"/>
                </a:cubicBezTo>
                <a:lnTo>
                  <a:pt x="329450" y="157188"/>
                </a:lnTo>
                <a:lnTo>
                  <a:pt x="336728" y="139291"/>
                </a:lnTo>
                <a:lnTo>
                  <a:pt x="334609" y="137750"/>
                </a:lnTo>
                <a:lnTo>
                  <a:pt x="319790" y="150172"/>
                </a:lnTo>
                <a:lnTo>
                  <a:pt x="316010" y="155372"/>
                </a:lnTo>
                <a:cubicBezTo>
                  <a:pt x="314285" y="157743"/>
                  <a:pt x="311101" y="158524"/>
                  <a:pt x="308474" y="157221"/>
                </a:cubicBezTo>
                <a:cubicBezTo>
                  <a:pt x="302691" y="154344"/>
                  <a:pt x="296515" y="152336"/>
                  <a:pt x="290145" y="151261"/>
                </a:cubicBezTo>
                <a:cubicBezTo>
                  <a:pt x="287255" y="150771"/>
                  <a:pt x="285139" y="148268"/>
                  <a:pt x="285139" y="145336"/>
                </a:cubicBezTo>
                <a:lnTo>
                  <a:pt x="285139" y="138912"/>
                </a:lnTo>
                <a:lnTo>
                  <a:pt x="280449" y="120152"/>
                </a:lnTo>
                <a:lnTo>
                  <a:pt x="277814" y="120152"/>
                </a:lnTo>
                <a:lnTo>
                  <a:pt x="273119" y="138912"/>
                </a:lnTo>
                <a:lnTo>
                  <a:pt x="273125" y="145318"/>
                </a:lnTo>
                <a:cubicBezTo>
                  <a:pt x="273128" y="148257"/>
                  <a:pt x="271005" y="150767"/>
                  <a:pt x="268107" y="151252"/>
                </a:cubicBezTo>
                <a:cubicBezTo>
                  <a:pt x="261732" y="152317"/>
                  <a:pt x="255549" y="154318"/>
                  <a:pt x="249760" y="157191"/>
                </a:cubicBezTo>
                <a:cubicBezTo>
                  <a:pt x="247131" y="158506"/>
                  <a:pt x="243938" y="157720"/>
                  <a:pt x="242218" y="155337"/>
                </a:cubicBezTo>
                <a:lnTo>
                  <a:pt x="238468" y="150169"/>
                </a:lnTo>
                <a:lnTo>
                  <a:pt x="223649" y="137750"/>
                </a:lnTo>
                <a:lnTo>
                  <a:pt x="221518" y="139300"/>
                </a:lnTo>
                <a:lnTo>
                  <a:pt x="228749" y="157238"/>
                </a:lnTo>
                <a:lnTo>
                  <a:pt x="232470" y="162365"/>
                </a:lnTo>
                <a:cubicBezTo>
                  <a:pt x="234195" y="164738"/>
                  <a:pt x="233955" y="168011"/>
                  <a:pt x="231901" y="170106"/>
                </a:cubicBezTo>
                <a:cubicBezTo>
                  <a:pt x="227368" y="174736"/>
                  <a:pt x="223538" y="180005"/>
                  <a:pt x="220532" y="185744"/>
                </a:cubicBezTo>
                <a:lnTo>
                  <a:pt x="217304" y="192241"/>
                </a:lnTo>
                <a:cubicBezTo>
                  <a:pt x="217298" y="192253"/>
                  <a:pt x="217293" y="192265"/>
                  <a:pt x="217287" y="192277"/>
                </a:cubicBezTo>
                <a:cubicBezTo>
                  <a:pt x="215800" y="195244"/>
                  <a:pt x="212190" y="196445"/>
                  <a:pt x="209222" y="194959"/>
                </a:cubicBezTo>
                <a:cubicBezTo>
                  <a:pt x="206255" y="193473"/>
                  <a:pt x="205054" y="189862"/>
                  <a:pt x="206540" y="186895"/>
                </a:cubicBezTo>
                <a:lnTo>
                  <a:pt x="209827" y="180280"/>
                </a:lnTo>
                <a:cubicBezTo>
                  <a:pt x="212599" y="174975"/>
                  <a:pt x="215966" y="170002"/>
                  <a:pt x="219863" y="165458"/>
                </a:cubicBezTo>
                <a:lnTo>
                  <a:pt x="218590" y="163706"/>
                </a:lnTo>
                <a:cubicBezTo>
                  <a:pt x="218300" y="163308"/>
                  <a:pt x="218059" y="162877"/>
                  <a:pt x="217874" y="162421"/>
                </a:cubicBezTo>
                <a:lnTo>
                  <a:pt x="208612" y="139443"/>
                </a:lnTo>
                <a:cubicBezTo>
                  <a:pt x="207584" y="136885"/>
                  <a:pt x="208425" y="133955"/>
                  <a:pt x="210655" y="132333"/>
                </a:cubicBezTo>
                <a:lnTo>
                  <a:pt x="220380" y="125267"/>
                </a:lnTo>
                <a:cubicBezTo>
                  <a:pt x="222611" y="123644"/>
                  <a:pt x="225660" y="123750"/>
                  <a:pt x="227775" y="125522"/>
                </a:cubicBezTo>
                <a:lnTo>
                  <a:pt x="246761" y="141433"/>
                </a:lnTo>
                <a:cubicBezTo>
                  <a:pt x="247138" y="141751"/>
                  <a:pt x="247475" y="142113"/>
                  <a:pt x="247765" y="142513"/>
                </a:cubicBezTo>
                <a:lnTo>
                  <a:pt x="249062" y="144303"/>
                </a:lnTo>
                <a:cubicBezTo>
                  <a:pt x="252961" y="142679"/>
                  <a:pt x="256987" y="141377"/>
                  <a:pt x="261099" y="140409"/>
                </a:cubicBezTo>
                <a:lnTo>
                  <a:pt x="261099" y="138179"/>
                </a:lnTo>
                <a:cubicBezTo>
                  <a:pt x="261098" y="137685"/>
                  <a:pt x="261159" y="137193"/>
                  <a:pt x="261281" y="136714"/>
                </a:cubicBezTo>
                <a:lnTo>
                  <a:pt x="267297" y="112683"/>
                </a:lnTo>
                <a:cubicBezTo>
                  <a:pt x="267964" y="110008"/>
                  <a:pt x="270368" y="108131"/>
                  <a:pt x="273125" y="108132"/>
                </a:cubicBezTo>
                <a:close/>
                <a:moveTo>
                  <a:pt x="99083" y="75004"/>
                </a:moveTo>
                <a:lnTo>
                  <a:pt x="111103" y="75004"/>
                </a:lnTo>
                <a:cubicBezTo>
                  <a:pt x="113862" y="75003"/>
                  <a:pt x="116266" y="76881"/>
                  <a:pt x="116931" y="79558"/>
                </a:cubicBezTo>
                <a:lnTo>
                  <a:pt x="122935" y="103592"/>
                </a:lnTo>
                <a:cubicBezTo>
                  <a:pt x="123057" y="104068"/>
                  <a:pt x="123118" y="104557"/>
                  <a:pt x="123117" y="105048"/>
                </a:cubicBezTo>
                <a:lnTo>
                  <a:pt x="123117" y="107301"/>
                </a:lnTo>
                <a:cubicBezTo>
                  <a:pt x="127223" y="108274"/>
                  <a:pt x="131243" y="109580"/>
                  <a:pt x="135137" y="111207"/>
                </a:cubicBezTo>
                <a:lnTo>
                  <a:pt x="136463" y="109382"/>
                </a:lnTo>
                <a:cubicBezTo>
                  <a:pt x="136750" y="108985"/>
                  <a:pt x="137086" y="108625"/>
                  <a:pt x="137461" y="108311"/>
                </a:cubicBezTo>
                <a:lnTo>
                  <a:pt x="156441" y="92397"/>
                </a:lnTo>
                <a:cubicBezTo>
                  <a:pt x="158558" y="90631"/>
                  <a:pt x="161602" y="90524"/>
                  <a:pt x="163836" y="92138"/>
                </a:cubicBezTo>
                <a:lnTo>
                  <a:pt x="173562" y="99205"/>
                </a:lnTo>
                <a:cubicBezTo>
                  <a:pt x="175798" y="100831"/>
                  <a:pt x="176638" y="103771"/>
                  <a:pt x="175598" y="106333"/>
                </a:cubicBezTo>
                <a:lnTo>
                  <a:pt x="166272" y="129263"/>
                </a:lnTo>
                <a:cubicBezTo>
                  <a:pt x="166088" y="129710"/>
                  <a:pt x="165852" y="130134"/>
                  <a:pt x="165568" y="130525"/>
                </a:cubicBezTo>
                <a:lnTo>
                  <a:pt x="164265" y="132327"/>
                </a:lnTo>
                <a:cubicBezTo>
                  <a:pt x="167034" y="135549"/>
                  <a:pt x="169535" y="138992"/>
                  <a:pt x="171742" y="142621"/>
                </a:cubicBezTo>
                <a:lnTo>
                  <a:pt x="173879" y="141926"/>
                </a:lnTo>
                <a:cubicBezTo>
                  <a:pt x="174345" y="141776"/>
                  <a:pt x="174828" y="141682"/>
                  <a:pt x="175317" y="141647"/>
                </a:cubicBezTo>
                <a:lnTo>
                  <a:pt x="193992" y="140350"/>
                </a:lnTo>
                <a:cubicBezTo>
                  <a:pt x="194024" y="140347"/>
                  <a:pt x="194057" y="140345"/>
                  <a:pt x="194089" y="140343"/>
                </a:cubicBezTo>
                <a:cubicBezTo>
                  <a:pt x="197402" y="140140"/>
                  <a:pt x="200253" y="142661"/>
                  <a:pt x="200456" y="145974"/>
                </a:cubicBezTo>
                <a:cubicBezTo>
                  <a:pt x="200659" y="149287"/>
                  <a:pt x="198138" y="152137"/>
                  <a:pt x="194825" y="152340"/>
                </a:cubicBezTo>
                <a:lnTo>
                  <a:pt x="176890" y="153588"/>
                </a:lnTo>
                <a:lnTo>
                  <a:pt x="170786" y="155568"/>
                </a:lnTo>
                <a:cubicBezTo>
                  <a:pt x="167999" y="156474"/>
                  <a:pt x="164966" y="155236"/>
                  <a:pt x="163608" y="152640"/>
                </a:cubicBezTo>
                <a:cubicBezTo>
                  <a:pt x="160601" y="146891"/>
                  <a:pt x="156767" y="141614"/>
                  <a:pt x="152228" y="136978"/>
                </a:cubicBezTo>
                <a:cubicBezTo>
                  <a:pt x="150175" y="134885"/>
                  <a:pt x="149932" y="131616"/>
                  <a:pt x="151653" y="129242"/>
                </a:cubicBezTo>
                <a:lnTo>
                  <a:pt x="155409" y="124060"/>
                </a:lnTo>
                <a:lnTo>
                  <a:pt x="162686" y="106163"/>
                </a:lnTo>
                <a:lnTo>
                  <a:pt x="160568" y="104622"/>
                </a:lnTo>
                <a:lnTo>
                  <a:pt x="145748" y="117047"/>
                </a:lnTo>
                <a:lnTo>
                  <a:pt x="141968" y="122247"/>
                </a:lnTo>
                <a:cubicBezTo>
                  <a:pt x="140239" y="124616"/>
                  <a:pt x="137055" y="125396"/>
                  <a:pt x="134427" y="124093"/>
                </a:cubicBezTo>
                <a:cubicBezTo>
                  <a:pt x="128646" y="121215"/>
                  <a:pt x="122471" y="119207"/>
                  <a:pt x="116103" y="118135"/>
                </a:cubicBezTo>
                <a:cubicBezTo>
                  <a:pt x="113213" y="117646"/>
                  <a:pt x="111098" y="115142"/>
                  <a:pt x="111097" y="112211"/>
                </a:cubicBezTo>
                <a:lnTo>
                  <a:pt x="111097" y="105787"/>
                </a:lnTo>
                <a:lnTo>
                  <a:pt x="106408" y="87024"/>
                </a:lnTo>
                <a:lnTo>
                  <a:pt x="103772" y="87024"/>
                </a:lnTo>
                <a:lnTo>
                  <a:pt x="99077" y="105787"/>
                </a:lnTo>
                <a:lnTo>
                  <a:pt x="99083" y="112190"/>
                </a:lnTo>
                <a:cubicBezTo>
                  <a:pt x="99086" y="115129"/>
                  <a:pt x="96964" y="117639"/>
                  <a:pt x="94065" y="118124"/>
                </a:cubicBezTo>
                <a:cubicBezTo>
                  <a:pt x="87688" y="119189"/>
                  <a:pt x="81504" y="121191"/>
                  <a:pt x="75712" y="124066"/>
                </a:cubicBezTo>
                <a:cubicBezTo>
                  <a:pt x="73087" y="125372"/>
                  <a:pt x="69902" y="124589"/>
                  <a:pt x="68182" y="122214"/>
                </a:cubicBezTo>
                <a:lnTo>
                  <a:pt x="64426" y="117047"/>
                </a:lnTo>
                <a:lnTo>
                  <a:pt x="49607" y="104622"/>
                </a:lnTo>
                <a:lnTo>
                  <a:pt x="47476" y="106171"/>
                </a:lnTo>
                <a:lnTo>
                  <a:pt x="54707" y="124111"/>
                </a:lnTo>
                <a:lnTo>
                  <a:pt x="58428" y="129237"/>
                </a:lnTo>
                <a:cubicBezTo>
                  <a:pt x="60153" y="131609"/>
                  <a:pt x="59915" y="134879"/>
                  <a:pt x="57865" y="136976"/>
                </a:cubicBezTo>
                <a:cubicBezTo>
                  <a:pt x="53330" y="141607"/>
                  <a:pt x="49497" y="146877"/>
                  <a:pt x="46491" y="152620"/>
                </a:cubicBezTo>
                <a:cubicBezTo>
                  <a:pt x="45130" y="155213"/>
                  <a:pt x="42098" y="156447"/>
                  <a:pt x="39313" y="155542"/>
                </a:cubicBezTo>
                <a:lnTo>
                  <a:pt x="33291" y="153588"/>
                </a:lnTo>
                <a:lnTo>
                  <a:pt x="13993" y="152250"/>
                </a:lnTo>
                <a:lnTo>
                  <a:pt x="13183" y="154753"/>
                </a:lnTo>
                <a:lnTo>
                  <a:pt x="29570" y="165018"/>
                </a:lnTo>
                <a:lnTo>
                  <a:pt x="35638" y="166984"/>
                </a:lnTo>
                <a:cubicBezTo>
                  <a:pt x="38428" y="167887"/>
                  <a:pt x="40157" y="170672"/>
                  <a:pt x="39729" y="173572"/>
                </a:cubicBezTo>
                <a:cubicBezTo>
                  <a:pt x="38673" y="179969"/>
                  <a:pt x="38673" y="186496"/>
                  <a:pt x="39729" y="192893"/>
                </a:cubicBezTo>
                <a:cubicBezTo>
                  <a:pt x="40156" y="195793"/>
                  <a:pt x="38427" y="198578"/>
                  <a:pt x="35638" y="199481"/>
                </a:cubicBezTo>
                <a:lnTo>
                  <a:pt x="29570" y="201450"/>
                </a:lnTo>
                <a:lnTo>
                  <a:pt x="13178" y="211709"/>
                </a:lnTo>
                <a:lnTo>
                  <a:pt x="13993" y="214215"/>
                </a:lnTo>
                <a:lnTo>
                  <a:pt x="33285" y="212880"/>
                </a:lnTo>
                <a:lnTo>
                  <a:pt x="39301" y="210923"/>
                </a:lnTo>
                <a:cubicBezTo>
                  <a:pt x="42089" y="210016"/>
                  <a:pt x="45124" y="211252"/>
                  <a:pt x="46485" y="213848"/>
                </a:cubicBezTo>
                <a:cubicBezTo>
                  <a:pt x="49489" y="219590"/>
                  <a:pt x="53319" y="224860"/>
                  <a:pt x="57853" y="229489"/>
                </a:cubicBezTo>
                <a:cubicBezTo>
                  <a:pt x="59906" y="231584"/>
                  <a:pt x="60149" y="234853"/>
                  <a:pt x="58428" y="237228"/>
                </a:cubicBezTo>
                <a:lnTo>
                  <a:pt x="54707" y="242354"/>
                </a:lnTo>
                <a:lnTo>
                  <a:pt x="47471" y="260293"/>
                </a:lnTo>
                <a:lnTo>
                  <a:pt x="49601" y="261840"/>
                </a:lnTo>
                <a:lnTo>
                  <a:pt x="64427" y="249421"/>
                </a:lnTo>
                <a:lnTo>
                  <a:pt x="68171" y="244259"/>
                </a:lnTo>
                <a:cubicBezTo>
                  <a:pt x="69895" y="241882"/>
                  <a:pt x="73084" y="241099"/>
                  <a:pt x="75712" y="242407"/>
                </a:cubicBezTo>
                <a:cubicBezTo>
                  <a:pt x="81522" y="245294"/>
                  <a:pt x="87729" y="247300"/>
                  <a:pt x="94130" y="248361"/>
                </a:cubicBezTo>
                <a:cubicBezTo>
                  <a:pt x="97028" y="248843"/>
                  <a:pt x="99154" y="251350"/>
                  <a:pt x="99154" y="254289"/>
                </a:cubicBezTo>
                <a:lnTo>
                  <a:pt x="99154" y="260689"/>
                </a:lnTo>
                <a:lnTo>
                  <a:pt x="103790" y="279444"/>
                </a:lnTo>
                <a:lnTo>
                  <a:pt x="106408" y="279444"/>
                </a:lnTo>
                <a:lnTo>
                  <a:pt x="111097" y="260680"/>
                </a:lnTo>
                <a:lnTo>
                  <a:pt x="111097" y="254265"/>
                </a:lnTo>
                <a:cubicBezTo>
                  <a:pt x="111098" y="251334"/>
                  <a:pt x="113213" y="248830"/>
                  <a:pt x="116103" y="248341"/>
                </a:cubicBezTo>
                <a:cubicBezTo>
                  <a:pt x="122495" y="247264"/>
                  <a:pt x="128691" y="245245"/>
                  <a:pt x="134491" y="242351"/>
                </a:cubicBezTo>
                <a:cubicBezTo>
                  <a:pt x="137118" y="241034"/>
                  <a:pt x="140313" y="241812"/>
                  <a:pt x="142039" y="244191"/>
                </a:cubicBezTo>
                <a:lnTo>
                  <a:pt x="145813" y="249379"/>
                </a:lnTo>
                <a:lnTo>
                  <a:pt x="160585" y="261834"/>
                </a:lnTo>
                <a:lnTo>
                  <a:pt x="162704" y="260293"/>
                </a:lnTo>
                <a:lnTo>
                  <a:pt x="155467" y="242357"/>
                </a:lnTo>
                <a:lnTo>
                  <a:pt x="151705" y="237175"/>
                </a:lnTo>
                <a:cubicBezTo>
                  <a:pt x="149985" y="234803"/>
                  <a:pt x="150226" y="231537"/>
                  <a:pt x="152274" y="229442"/>
                </a:cubicBezTo>
                <a:cubicBezTo>
                  <a:pt x="156808" y="224801"/>
                  <a:pt x="160637" y="219519"/>
                  <a:pt x="163637" y="213766"/>
                </a:cubicBezTo>
                <a:cubicBezTo>
                  <a:pt x="165173" y="210823"/>
                  <a:pt x="168805" y="209682"/>
                  <a:pt x="171748" y="211219"/>
                </a:cubicBezTo>
                <a:cubicBezTo>
                  <a:pt x="174691" y="212755"/>
                  <a:pt x="175831" y="216387"/>
                  <a:pt x="174295" y="219330"/>
                </a:cubicBezTo>
                <a:cubicBezTo>
                  <a:pt x="171538" y="224609"/>
                  <a:pt x="168191" y="229558"/>
                  <a:pt x="164317" y="234082"/>
                </a:cubicBezTo>
                <a:lnTo>
                  <a:pt x="165632" y="235892"/>
                </a:lnTo>
                <a:cubicBezTo>
                  <a:pt x="165919" y="236290"/>
                  <a:pt x="166157" y="236721"/>
                  <a:pt x="166342" y="237175"/>
                </a:cubicBezTo>
                <a:lnTo>
                  <a:pt x="175610" y="260149"/>
                </a:lnTo>
                <a:cubicBezTo>
                  <a:pt x="176638" y="262707"/>
                  <a:pt x="175797" y="265637"/>
                  <a:pt x="173567" y="267260"/>
                </a:cubicBezTo>
                <a:lnTo>
                  <a:pt x="163842" y="274323"/>
                </a:lnTo>
                <a:cubicBezTo>
                  <a:pt x="161605" y="275945"/>
                  <a:pt x="158550" y="275835"/>
                  <a:pt x="156435" y="274056"/>
                </a:cubicBezTo>
                <a:lnTo>
                  <a:pt x="137508" y="258101"/>
                </a:lnTo>
                <a:cubicBezTo>
                  <a:pt x="137138" y="257788"/>
                  <a:pt x="136807" y="257433"/>
                  <a:pt x="136522" y="257041"/>
                </a:cubicBezTo>
                <a:lnTo>
                  <a:pt x="135213" y="255239"/>
                </a:lnTo>
                <a:cubicBezTo>
                  <a:pt x="131295" y="256879"/>
                  <a:pt x="127249" y="258195"/>
                  <a:pt x="123117" y="259175"/>
                </a:cubicBezTo>
                <a:lnTo>
                  <a:pt x="123117" y="261420"/>
                </a:lnTo>
                <a:cubicBezTo>
                  <a:pt x="123118" y="261910"/>
                  <a:pt x="123057" y="262400"/>
                  <a:pt x="122935" y="262875"/>
                </a:cubicBezTo>
                <a:lnTo>
                  <a:pt x="116931" y="286909"/>
                </a:lnTo>
                <a:cubicBezTo>
                  <a:pt x="116265" y="289586"/>
                  <a:pt x="113861" y="291464"/>
                  <a:pt x="111103" y="291463"/>
                </a:cubicBezTo>
                <a:lnTo>
                  <a:pt x="99083" y="291463"/>
                </a:lnTo>
                <a:cubicBezTo>
                  <a:pt x="96319" y="291464"/>
                  <a:pt x="93911" y="289578"/>
                  <a:pt x="93249" y="286894"/>
                </a:cubicBezTo>
                <a:lnTo>
                  <a:pt x="87310" y="262860"/>
                </a:lnTo>
                <a:cubicBezTo>
                  <a:pt x="87192" y="262389"/>
                  <a:pt x="87133" y="261905"/>
                  <a:pt x="87134" y="261420"/>
                </a:cubicBezTo>
                <a:lnTo>
                  <a:pt x="87134" y="259213"/>
                </a:lnTo>
                <a:cubicBezTo>
                  <a:pt x="82993" y="258242"/>
                  <a:pt x="78940" y="256931"/>
                  <a:pt x="75014" y="255295"/>
                </a:cubicBezTo>
                <a:lnTo>
                  <a:pt x="73717" y="257082"/>
                </a:lnTo>
                <a:cubicBezTo>
                  <a:pt x="73426" y="257480"/>
                  <a:pt x="73089" y="257841"/>
                  <a:pt x="72713" y="258159"/>
                </a:cubicBezTo>
                <a:lnTo>
                  <a:pt x="53727" y="274068"/>
                </a:lnTo>
                <a:cubicBezTo>
                  <a:pt x="51612" y="275839"/>
                  <a:pt x="48564" y="275944"/>
                  <a:pt x="46332" y="274323"/>
                </a:cubicBezTo>
                <a:lnTo>
                  <a:pt x="36607" y="267260"/>
                </a:lnTo>
                <a:cubicBezTo>
                  <a:pt x="34377" y="265637"/>
                  <a:pt x="33536" y="262707"/>
                  <a:pt x="34564" y="260149"/>
                </a:cubicBezTo>
                <a:lnTo>
                  <a:pt x="43832" y="237175"/>
                </a:lnTo>
                <a:cubicBezTo>
                  <a:pt x="44017" y="236721"/>
                  <a:pt x="44255" y="236290"/>
                  <a:pt x="44542" y="235892"/>
                </a:cubicBezTo>
                <a:lnTo>
                  <a:pt x="45815" y="234141"/>
                </a:lnTo>
                <a:cubicBezTo>
                  <a:pt x="43053" y="230927"/>
                  <a:pt x="40559" y="227493"/>
                  <a:pt x="38356" y="223873"/>
                </a:cubicBezTo>
                <a:lnTo>
                  <a:pt x="36302" y="224542"/>
                </a:lnTo>
                <a:cubicBezTo>
                  <a:pt x="35834" y="224692"/>
                  <a:pt x="35349" y="224786"/>
                  <a:pt x="34858" y="224820"/>
                </a:cubicBezTo>
                <a:lnTo>
                  <a:pt x="10143" y="226528"/>
                </a:lnTo>
                <a:cubicBezTo>
                  <a:pt x="7387" y="226737"/>
                  <a:pt x="4849" y="225024"/>
                  <a:pt x="4010" y="222391"/>
                </a:cubicBezTo>
                <a:lnTo>
                  <a:pt x="295" y="210961"/>
                </a:lnTo>
                <a:cubicBezTo>
                  <a:pt x="-558" y="208337"/>
                  <a:pt x="485" y="205470"/>
                  <a:pt x="2825" y="204009"/>
                </a:cubicBezTo>
                <a:lnTo>
                  <a:pt x="23824" y="190868"/>
                </a:lnTo>
                <a:cubicBezTo>
                  <a:pt x="24241" y="190607"/>
                  <a:pt x="24689" y="190398"/>
                  <a:pt x="25157" y="190246"/>
                </a:cubicBezTo>
                <a:lnTo>
                  <a:pt x="27222" y="189574"/>
                </a:lnTo>
                <a:cubicBezTo>
                  <a:pt x="27017" y="187346"/>
                  <a:pt x="26917" y="185272"/>
                  <a:pt x="26917" y="183238"/>
                </a:cubicBezTo>
                <a:cubicBezTo>
                  <a:pt x="26917" y="181202"/>
                  <a:pt x="27017" y="179121"/>
                  <a:pt x="27222" y="176891"/>
                </a:cubicBezTo>
                <a:lnTo>
                  <a:pt x="25157" y="176222"/>
                </a:lnTo>
                <a:cubicBezTo>
                  <a:pt x="24689" y="176070"/>
                  <a:pt x="24241" y="175861"/>
                  <a:pt x="23824" y="175599"/>
                </a:cubicBezTo>
                <a:lnTo>
                  <a:pt x="2831" y="162453"/>
                </a:lnTo>
                <a:cubicBezTo>
                  <a:pt x="494" y="160990"/>
                  <a:pt x="-548" y="158126"/>
                  <a:pt x="301" y="155504"/>
                </a:cubicBezTo>
                <a:lnTo>
                  <a:pt x="4010" y="144074"/>
                </a:lnTo>
                <a:cubicBezTo>
                  <a:pt x="4850" y="141440"/>
                  <a:pt x="7387" y="139727"/>
                  <a:pt x="10143" y="139933"/>
                </a:cubicBezTo>
                <a:lnTo>
                  <a:pt x="34858" y="141647"/>
                </a:lnTo>
                <a:cubicBezTo>
                  <a:pt x="35347" y="141679"/>
                  <a:pt x="35830" y="141773"/>
                  <a:pt x="36296" y="141926"/>
                </a:cubicBezTo>
                <a:lnTo>
                  <a:pt x="38362" y="142595"/>
                </a:lnTo>
                <a:cubicBezTo>
                  <a:pt x="40565" y="138976"/>
                  <a:pt x="43060" y="135543"/>
                  <a:pt x="45822" y="132330"/>
                </a:cubicBezTo>
                <a:lnTo>
                  <a:pt x="44548" y="130578"/>
                </a:lnTo>
                <a:cubicBezTo>
                  <a:pt x="44258" y="130180"/>
                  <a:pt x="44018" y="129749"/>
                  <a:pt x="43832" y="129293"/>
                </a:cubicBezTo>
                <a:lnTo>
                  <a:pt x="34571" y="106315"/>
                </a:lnTo>
                <a:cubicBezTo>
                  <a:pt x="33542" y="103757"/>
                  <a:pt x="34384" y="100827"/>
                  <a:pt x="36613" y="99205"/>
                </a:cubicBezTo>
                <a:lnTo>
                  <a:pt x="46338" y="92138"/>
                </a:lnTo>
                <a:cubicBezTo>
                  <a:pt x="48570" y="90518"/>
                  <a:pt x="51619" y="90625"/>
                  <a:pt x="53733" y="92397"/>
                </a:cubicBezTo>
                <a:lnTo>
                  <a:pt x="72714" y="108311"/>
                </a:lnTo>
                <a:cubicBezTo>
                  <a:pt x="73089" y="108625"/>
                  <a:pt x="73424" y="108985"/>
                  <a:pt x="73711" y="109382"/>
                </a:cubicBezTo>
                <a:lnTo>
                  <a:pt x="75020" y="111178"/>
                </a:lnTo>
                <a:cubicBezTo>
                  <a:pt x="78919" y="109552"/>
                  <a:pt x="82945" y="108248"/>
                  <a:pt x="87058" y="107281"/>
                </a:cubicBezTo>
                <a:lnTo>
                  <a:pt x="87058" y="105053"/>
                </a:lnTo>
                <a:cubicBezTo>
                  <a:pt x="87056" y="104560"/>
                  <a:pt x="87117" y="104068"/>
                  <a:pt x="87239" y="103589"/>
                </a:cubicBezTo>
                <a:lnTo>
                  <a:pt x="93255" y="79555"/>
                </a:lnTo>
                <a:cubicBezTo>
                  <a:pt x="93923" y="76880"/>
                  <a:pt x="96326" y="75003"/>
                  <a:pt x="99083" y="75004"/>
                </a:cubicBezTo>
                <a:close/>
                <a:moveTo>
                  <a:pt x="272678" y="20392"/>
                </a:moveTo>
                <a:lnTo>
                  <a:pt x="272678" y="65334"/>
                </a:lnTo>
                <a:lnTo>
                  <a:pt x="318174" y="65334"/>
                </a:lnTo>
                <a:close/>
                <a:moveTo>
                  <a:pt x="54572" y="0"/>
                </a:moveTo>
                <a:lnTo>
                  <a:pt x="269133" y="0"/>
                </a:lnTo>
                <a:lnTo>
                  <a:pt x="270908" y="1753"/>
                </a:lnTo>
                <a:lnTo>
                  <a:pt x="270926" y="1771"/>
                </a:lnTo>
                <a:lnTo>
                  <a:pt x="338013" y="68035"/>
                </a:lnTo>
                <a:lnTo>
                  <a:pt x="338013" y="114122"/>
                </a:lnTo>
                <a:lnTo>
                  <a:pt x="325993" y="114122"/>
                </a:lnTo>
                <a:lnTo>
                  <a:pt x="325993" y="77355"/>
                </a:lnTo>
                <a:lnTo>
                  <a:pt x="266668" y="77355"/>
                </a:lnTo>
                <a:cubicBezTo>
                  <a:pt x="266667" y="77355"/>
                  <a:pt x="266666" y="77355"/>
                  <a:pt x="266665" y="77355"/>
                </a:cubicBezTo>
                <a:cubicBezTo>
                  <a:pt x="263347" y="77354"/>
                  <a:pt x="260657" y="74664"/>
                  <a:pt x="260658" y="71345"/>
                </a:cubicBezTo>
                <a:lnTo>
                  <a:pt x="260658" y="12020"/>
                </a:lnTo>
                <a:lnTo>
                  <a:pt x="66592" y="12020"/>
                </a:lnTo>
                <a:lnTo>
                  <a:pt x="66592" y="82681"/>
                </a:lnTo>
                <a:lnTo>
                  <a:pt x="54572" y="82681"/>
                </a:lnTo>
                <a:close/>
              </a:path>
            </a:pathLst>
          </a:custGeom>
          <a:solidFill>
            <a:srgbClr val="2196F3"/>
          </a:solidFill>
          <a:ln w="5953" cap="flat">
            <a:noFill/>
            <a:prstDash val="solid"/>
            <a:miter/>
          </a:ln>
        </p:spPr>
        <p:txBody>
          <a:bodyPr wrap="square" rtlCol="0" anchor="ctr">
            <a:noAutofit/>
          </a:bodyPr>
          <a:p>
            <a:endParaRPr lang="zh-CN" altLang="en-US"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33" name="任意多边形: 形状 32"/>
          <p:cNvSpPr/>
          <p:nvPr>
            <p:custDataLst>
              <p:tags r:id="rId6"/>
            </p:custDataLst>
          </p:nvPr>
        </p:nvSpPr>
        <p:spPr>
          <a:xfrm>
            <a:off x="-6113" y="1033853"/>
            <a:ext cx="1310049" cy="2362973"/>
          </a:xfrm>
          <a:custGeom>
            <a:avLst/>
            <a:gdLst>
              <a:gd name="connsiteX0" fmla="*/ 180859 w 1362662"/>
              <a:gd name="connsiteY0" fmla="*/ 0 h 2362973"/>
              <a:gd name="connsiteX1" fmla="*/ 1362662 w 1362662"/>
              <a:gd name="connsiteY1" fmla="*/ 1181487 h 2362973"/>
              <a:gd name="connsiteX2" fmla="*/ 180859 w 1362662"/>
              <a:gd name="connsiteY2" fmla="*/ 2362973 h 2362973"/>
              <a:gd name="connsiteX3" fmla="*/ 0 w 1362662"/>
              <a:gd name="connsiteY3" fmla="*/ 2182163 h 2362973"/>
              <a:gd name="connsiteX4" fmla="*/ 0 w 1362662"/>
              <a:gd name="connsiteY4" fmla="*/ 180811 h 23629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2662" h="2362973">
                <a:moveTo>
                  <a:pt x="180859" y="0"/>
                </a:moveTo>
                <a:lnTo>
                  <a:pt x="1362662" y="1181487"/>
                </a:lnTo>
                <a:lnTo>
                  <a:pt x="180859" y="2362973"/>
                </a:lnTo>
                <a:lnTo>
                  <a:pt x="0" y="2182163"/>
                </a:lnTo>
                <a:lnTo>
                  <a:pt x="0" y="180811"/>
                </a:lnTo>
                <a:close/>
              </a:path>
            </a:pathLst>
          </a:custGeom>
          <a:noFill/>
          <a:ln w="38100">
            <a:solidFill>
              <a:srgbClr val="2196F3"/>
            </a:solidFill>
          </a:ln>
          <a:effectLst/>
        </p:spPr>
        <p:style>
          <a:lnRef idx="1">
            <a:srgbClr val="2196F3"/>
          </a:lnRef>
          <a:fillRef idx="3">
            <a:srgbClr val="2196F3"/>
          </a:fillRef>
          <a:effectRef idx="2">
            <a:srgbClr val="2196F3"/>
          </a:effectRef>
          <a:fontRef idx="minor">
            <a:srgbClr val="FFFFFF"/>
          </a:fontRef>
        </p:style>
        <p:txBody>
          <a:bodyPr wrap="square" rtlCol="0" anchor="ctr">
            <a:noAutofit/>
          </a:bodyPr>
          <a:p>
            <a:pPr algn="ctr"/>
            <a:endParaRPr lang="en-US" sz="1800"/>
          </a:p>
        </p:txBody>
      </p:sp>
      <p:sp>
        <p:nvSpPr>
          <p:cNvPr id="23" name="Diamond 4"/>
          <p:cNvSpPr/>
          <p:nvPr>
            <p:custDataLst>
              <p:tags r:id="rId7"/>
            </p:custDataLst>
          </p:nvPr>
        </p:nvSpPr>
        <p:spPr>
          <a:xfrm>
            <a:off x="603488" y="593047"/>
            <a:ext cx="1536378" cy="1535966"/>
          </a:xfrm>
          <a:prstGeom prst="diamond">
            <a:avLst/>
          </a:prstGeom>
          <a:solidFill>
            <a:srgbClr val="222222">
              <a:lumMod val="75000"/>
              <a:lumOff val="25000"/>
            </a:srgbClr>
          </a:solidFill>
          <a:ln>
            <a:noFill/>
          </a:ln>
          <a:effectLst/>
        </p:spPr>
        <p:style>
          <a:lnRef idx="1">
            <a:srgbClr val="2196F3"/>
          </a:lnRef>
          <a:fillRef idx="3">
            <a:srgbClr val="2196F3"/>
          </a:fillRef>
          <a:effectRef idx="2">
            <a:srgbClr val="2196F3"/>
          </a:effectRef>
          <a:fontRef idx="minor">
            <a:srgbClr val="FFFFFF"/>
          </a:fontRef>
        </p:style>
        <p:txBody>
          <a:bodyPr rtlCol="0" anchor="ctr"/>
          <a:p>
            <a:pPr algn="ctr"/>
            <a:endParaRPr lang="en-US" sz="1800"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35" name="任意多边形: 形状 34"/>
          <p:cNvSpPr/>
          <p:nvPr>
            <p:custDataLst>
              <p:tags r:id="rId8"/>
            </p:custDataLst>
          </p:nvPr>
        </p:nvSpPr>
        <p:spPr>
          <a:xfrm>
            <a:off x="-24680" y="3519364"/>
            <a:ext cx="1464673" cy="2641853"/>
          </a:xfrm>
          <a:custGeom>
            <a:avLst/>
            <a:gdLst>
              <a:gd name="connsiteX0" fmla="*/ 143392 w 1464673"/>
              <a:gd name="connsiteY0" fmla="*/ 0 h 2641853"/>
              <a:gd name="connsiteX1" fmla="*/ 1464673 w 1464673"/>
              <a:gd name="connsiteY1" fmla="*/ 1320927 h 2641853"/>
              <a:gd name="connsiteX2" fmla="*/ 143392 w 1464673"/>
              <a:gd name="connsiteY2" fmla="*/ 2641853 h 2641853"/>
              <a:gd name="connsiteX3" fmla="*/ 0 w 1464673"/>
              <a:gd name="connsiteY3" fmla="*/ 2498500 h 2641853"/>
              <a:gd name="connsiteX4" fmla="*/ 0 w 1464673"/>
              <a:gd name="connsiteY4" fmla="*/ 143354 h 2641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64673" h="2641853">
                <a:moveTo>
                  <a:pt x="143392" y="0"/>
                </a:moveTo>
                <a:lnTo>
                  <a:pt x="1464673" y="1320927"/>
                </a:lnTo>
                <a:lnTo>
                  <a:pt x="143392" y="2641853"/>
                </a:lnTo>
                <a:lnTo>
                  <a:pt x="0" y="2498500"/>
                </a:lnTo>
                <a:lnTo>
                  <a:pt x="0" y="143354"/>
                </a:lnTo>
                <a:close/>
              </a:path>
            </a:pathLst>
          </a:custGeom>
          <a:solidFill>
            <a:srgbClr val="222222">
              <a:lumMod val="75000"/>
              <a:lumOff val="25000"/>
            </a:srgbClr>
          </a:solidFill>
          <a:ln>
            <a:noFill/>
          </a:ln>
          <a:effectLst/>
        </p:spPr>
        <p:style>
          <a:lnRef idx="1">
            <a:srgbClr val="2196F3"/>
          </a:lnRef>
          <a:fillRef idx="3">
            <a:srgbClr val="2196F3"/>
          </a:fillRef>
          <a:effectRef idx="2">
            <a:srgbClr val="2196F3"/>
          </a:effectRef>
          <a:fontRef idx="minor">
            <a:srgbClr val="FFFFFF"/>
          </a:fontRef>
        </p:style>
        <p:txBody>
          <a:bodyPr wrap="square" rtlCol="0" anchor="ctr">
            <a:noAutofit/>
          </a:bodyPr>
          <a:p>
            <a:pPr algn="ctr"/>
            <a:endParaRPr lang="en-US" sz="1800"/>
          </a:p>
        </p:txBody>
      </p:sp>
      <p:sp>
        <p:nvSpPr>
          <p:cNvPr id="31" name="Diamond 6"/>
          <p:cNvSpPr/>
          <p:nvPr>
            <p:custDataLst>
              <p:tags r:id="rId9"/>
            </p:custDataLst>
          </p:nvPr>
        </p:nvSpPr>
        <p:spPr>
          <a:xfrm>
            <a:off x="1000806" y="4891089"/>
            <a:ext cx="1016477" cy="1016204"/>
          </a:xfrm>
          <a:prstGeom prst="diamond">
            <a:avLst/>
          </a:prstGeom>
          <a:noFill/>
          <a:ln w="38100">
            <a:solidFill>
              <a:srgbClr val="2196F3"/>
            </a:solidFill>
          </a:ln>
          <a:effectLst/>
        </p:spPr>
        <p:style>
          <a:lnRef idx="1">
            <a:srgbClr val="2196F3"/>
          </a:lnRef>
          <a:fillRef idx="3">
            <a:srgbClr val="2196F3"/>
          </a:fillRef>
          <a:effectRef idx="2">
            <a:srgbClr val="2196F3"/>
          </a:effectRef>
          <a:fontRef idx="minor">
            <a:srgbClr val="FFFFFF"/>
          </a:fontRef>
        </p:style>
        <p:txBody>
          <a:bodyPr rtlCol="0" anchor="ctr"/>
          <a:p>
            <a:pPr algn="ctr"/>
            <a:endParaRPr lang="en-US" sz="1800"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graphicFrame>
        <p:nvGraphicFramePr>
          <p:cNvPr id="2" name="表格 1"/>
          <p:cNvGraphicFramePr/>
          <p:nvPr>
            <p:custDataLst>
              <p:tags r:id="rId10"/>
            </p:custDataLst>
          </p:nvPr>
        </p:nvGraphicFramePr>
        <p:xfrm>
          <a:off x="6395085" y="241935"/>
          <a:ext cx="5539740" cy="6132830"/>
        </p:xfrm>
        <a:graphic>
          <a:graphicData uri="http://schemas.openxmlformats.org/drawingml/2006/table">
            <a:tbl>
              <a:tblPr firstRow="1" bandRow="1">
                <a:tableStyleId>{98026AAE-A59C-4E9F-9417-6E562D79C9FB}</a:tableStyleId>
              </a:tblPr>
              <a:tblGrid>
                <a:gridCol w="1283970"/>
                <a:gridCol w="4255770"/>
              </a:tblGrid>
              <a:tr h="557530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成员</a:t>
                      </a:r>
                      <a:endParaRPr lang="zh-CN" altLang="en-US"/>
                    </a:p>
                  </a:txBody>
                  <a:tcPr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</a:tcPr>
                </a:tc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分工情况</a:t>
                      </a:r>
                      <a:endParaRPr lang="zh-CN" altLang="en-US"/>
                    </a:p>
                  </a:txBody>
                  <a:tcPr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</a:tcPr>
                </a:tc>
              </a:tr>
              <a:tr h="557530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李东辉</a:t>
                      </a:r>
                      <a:endParaRPr lang="zh-CN" altLang="en-US"/>
                    </a:p>
                  </a:txBody>
                  <a:tcPr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</a:tcPr>
                </a:tc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项目架构设计+前端代码编写</a:t>
                      </a:r>
                      <a:endParaRPr lang="zh-CN" altLang="en-US"/>
                    </a:p>
                  </a:txBody>
                  <a:tcPr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</a:tcPr>
                </a:tc>
              </a:tr>
              <a:tr h="557530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方健</a:t>
                      </a:r>
                      <a:endParaRPr lang="zh-CN" altLang="en-US"/>
                    </a:p>
                  </a:txBody>
                  <a:tcPr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</a:tcPr>
                </a:tc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PPT制作+资料收集与整合</a:t>
                      </a:r>
                      <a:endParaRPr lang="zh-CN" altLang="en-US"/>
                    </a:p>
                  </a:txBody>
                  <a:tcPr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</a:tcPr>
                </a:tc>
              </a:tr>
              <a:tr h="557530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汪艺钦</a:t>
                      </a:r>
                      <a:endParaRPr lang="zh-CN" altLang="en-US"/>
                    </a:p>
                  </a:txBody>
                  <a:tcPr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</a:tcPr>
                </a:tc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团队分工+项目测试计划制定</a:t>
                      </a:r>
                      <a:endParaRPr lang="zh-CN" altLang="en-US"/>
                    </a:p>
                  </a:txBody>
                  <a:tcPr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</a:tcPr>
                </a:tc>
              </a:tr>
              <a:tr h="557530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康江平</a:t>
                      </a:r>
                      <a:endParaRPr lang="zh-CN" altLang="en-US"/>
                    </a:p>
                  </a:txBody>
                  <a:tcPr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</a:tcPr>
                </a:tc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后端代码编写</a:t>
                      </a:r>
                      <a:endParaRPr lang="zh-CN" altLang="en-US"/>
                    </a:p>
                  </a:txBody>
                  <a:tcPr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</a:tcPr>
                </a:tc>
              </a:tr>
              <a:tr h="557530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李阳</a:t>
                      </a:r>
                      <a:endParaRPr lang="zh-CN" altLang="en-US"/>
                    </a:p>
                  </a:txBody>
                  <a:tcPr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</a:tcPr>
                </a:tc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后端代码编写</a:t>
                      </a:r>
                      <a:endParaRPr lang="zh-CN" altLang="en-US"/>
                    </a:p>
                  </a:txBody>
                  <a:tcPr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</a:tcPr>
                </a:tc>
              </a:tr>
              <a:tr h="557530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邵京京</a:t>
                      </a:r>
                      <a:endParaRPr lang="zh-CN" altLang="en-US"/>
                    </a:p>
                  </a:txBody>
                  <a:tcPr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</a:tcPr>
                </a:tc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答辩+后端代码编写</a:t>
                      </a:r>
                      <a:endParaRPr lang="zh-CN" altLang="en-US"/>
                    </a:p>
                  </a:txBody>
                  <a:tcPr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</a:tcPr>
                </a:tc>
              </a:tr>
              <a:tr h="557530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廖杰龙</a:t>
                      </a:r>
                      <a:endParaRPr lang="zh-CN" altLang="en-US"/>
                    </a:p>
                  </a:txBody>
                  <a:tcPr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</a:tcPr>
                </a:tc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前端代码编写</a:t>
                      </a:r>
                      <a:endParaRPr lang="zh-CN" altLang="en-US"/>
                    </a:p>
                  </a:txBody>
                  <a:tcPr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</a:tcPr>
                </a:tc>
              </a:tr>
              <a:tr h="557530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林世斌</a:t>
                      </a:r>
                      <a:endParaRPr lang="zh-CN" altLang="en-US"/>
                    </a:p>
                  </a:txBody>
                  <a:tcPr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</a:tcPr>
                </a:tc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燃尽图+报告文档</a:t>
                      </a:r>
                      <a:endParaRPr lang="zh-CN" altLang="en-US"/>
                    </a:p>
                  </a:txBody>
                  <a:tcPr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</a:tcPr>
                </a:tc>
              </a:tr>
              <a:tr h="557530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刘东杭</a:t>
                      </a:r>
                      <a:endParaRPr lang="zh-CN" altLang="en-US"/>
                    </a:p>
                  </a:txBody>
                  <a:tcPr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</a:tcPr>
                </a:tc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报告文档+项目实际完成图</a:t>
                      </a:r>
                      <a:endParaRPr lang="zh-CN" altLang="en-US"/>
                    </a:p>
                  </a:txBody>
                  <a:tcPr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</a:tcPr>
                </a:tc>
              </a:tr>
              <a:tr h="557530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蒋征宇</a:t>
                      </a:r>
                      <a:endParaRPr lang="zh-CN" altLang="en-US"/>
                    </a:p>
                  </a:txBody>
                  <a:tcPr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</a:tcPr>
                </a:tc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后端代码编写</a:t>
                      </a:r>
                      <a:endParaRPr lang="zh-CN" altLang="en-US"/>
                    </a:p>
                  </a:txBody>
                  <a:tcPr anchor="ctr" anchorCtr="0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</a:tcPr>
                </a:tc>
              </a:tr>
            </a:tbl>
          </a:graphicData>
        </a:graphic>
      </p:graphicFrame>
      <p:sp>
        <p:nvSpPr>
          <p:cNvPr id="3" name="文本框 2"/>
          <p:cNvSpPr txBox="1"/>
          <p:nvPr/>
        </p:nvSpPr>
        <p:spPr>
          <a:xfrm>
            <a:off x="196850" y="60960"/>
            <a:ext cx="237363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800"/>
              <a:t>分工情况</a:t>
            </a:r>
            <a:endParaRPr lang="zh-CN" altLang="en-US" sz="2800"/>
          </a:p>
        </p:txBody>
      </p:sp>
    </p:spTree>
    <p:custDataLst>
      <p:tags r:id="rId11"/>
    </p:custData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50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5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图片 2074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altLang="zh-CN" sz="7200" b="0" dirty="0">
                <a:latin typeface="Impact" panose="020B0806030902050204" pitchFamily="34" charset="0"/>
                <a:ea typeface="微软雅黑" panose="020B0503020204020204" pitchFamily="34" charset="-122"/>
              </a:rPr>
              <a:t>TH</a:t>
            </a:r>
            <a:r>
              <a:rPr lang="en-US" altLang="zh-CN" sz="7200" b="0" dirty="0">
                <a:solidFill>
                  <a:schemeClr val="accent2"/>
                </a:solidFill>
                <a:latin typeface="Impact" panose="020B0806030902050204" pitchFamily="34" charset="0"/>
                <a:ea typeface="微软雅黑" panose="020B0503020204020204" pitchFamily="34" charset="-122"/>
              </a:rPr>
              <a:t>A</a:t>
            </a:r>
            <a:r>
              <a:rPr lang="en-US" altLang="zh-CN" sz="7200" b="0" dirty="0">
                <a:latin typeface="Impact" panose="020B0806030902050204" pitchFamily="34" charset="0"/>
                <a:ea typeface="微软雅黑" panose="020B0503020204020204" pitchFamily="34" charset="-122"/>
              </a:rPr>
              <a:t>NKS</a:t>
            </a:r>
            <a:br>
              <a:rPr lang="en-US" altLang="zh-CN" sz="2800" dirty="0">
                <a:ea typeface="微软雅黑" panose="020B0503020204020204" pitchFamily="34" charset="-122"/>
              </a:rPr>
            </a:br>
            <a:endParaRPr lang="zh-CN" altLang="en-US" sz="1400" dirty="0"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45" name="i$liḓê"/>
          <p:cNvSpPr/>
          <p:nvPr/>
        </p:nvSpPr>
        <p:spPr>
          <a:xfrm>
            <a:off x="0" y="0"/>
            <a:ext cx="12191999" cy="2869797"/>
          </a:xfrm>
          <a:prstGeom prst="rect">
            <a:avLst/>
          </a:prstGeom>
          <a:blipFill>
            <a:blip r:embed="rId1"/>
            <a:srcRect/>
            <a:stretch>
              <a:fillRect t="-92018" b="-91208"/>
            </a:stretch>
          </a:blipFill>
          <a:ln w="6350" cap="flat" cmpd="sng" algn="ctr">
            <a:noFill/>
            <a:prstDash val="solid"/>
            <a:miter lim="800000"/>
          </a:ln>
          <a:effectLst>
            <a:outerShdw blurRad="25400" dist="38100" dir="2700000" algn="tl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>
              <a:ea typeface="微软雅黑" panose="020B0503020204020204" pitchFamily="34" charset="-122"/>
            </a:endParaRPr>
          </a:p>
        </p:txBody>
      </p:sp>
      <p:sp>
        <p:nvSpPr>
          <p:cNvPr id="46" name="ïṥḷiḑê"/>
          <p:cNvSpPr txBox="1"/>
          <p:nvPr/>
        </p:nvSpPr>
        <p:spPr bwMode="auto">
          <a:xfrm>
            <a:off x="0" y="1130300"/>
            <a:ext cx="12191999" cy="1739497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  <a:ln w="9525">
            <a:noFill/>
            <a:miter lim="800000"/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 sz="5400" b="1" dirty="0">
                <a:solidFill>
                  <a:schemeClr val="tx1">
                    <a:lumMod val="50000"/>
                    <a:lumOff val="50000"/>
                  </a:schemeClr>
                </a:solidFill>
                <a:ea typeface="微软雅黑" panose="020B0503020204020204" pitchFamily="34" charset="-122"/>
              </a:rPr>
              <a:t>项目执行计划</a:t>
            </a:r>
            <a:endParaRPr lang="en-US" altLang="zh-CN" sz="5400" b="1" dirty="0">
              <a:solidFill>
                <a:schemeClr val="tx1">
                  <a:lumMod val="50000"/>
                  <a:lumOff val="50000"/>
                </a:schemeClr>
              </a:solidFill>
              <a:ea typeface="微软雅黑" panose="020B0503020204020204" pitchFamily="34" charset="-122"/>
            </a:endParaRPr>
          </a:p>
        </p:txBody>
      </p:sp>
      <p:sp>
        <p:nvSpPr>
          <p:cNvPr id="84" name="íṣlíḓé"/>
          <p:cNvSpPr/>
          <p:nvPr/>
        </p:nvSpPr>
        <p:spPr bwMode="auto">
          <a:xfrm>
            <a:off x="354173" y="2957802"/>
            <a:ext cx="2933065" cy="3502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zh-CN" b="1" dirty="0" smtClean="0">
                <a:ea typeface="微软雅黑" panose="020B0503020204020204" pitchFamily="34" charset="-122"/>
              </a:rPr>
              <a:t>项目准备阶段</a:t>
            </a:r>
            <a:endParaRPr b="1" dirty="0" smtClean="0">
              <a:ea typeface="微软雅黑" panose="020B0503020204020204" pitchFamily="34" charset="-122"/>
            </a:endParaRPr>
          </a:p>
          <a:p>
            <a:pPr algn="l">
              <a:lnSpc>
                <a:spcPct val="150000"/>
              </a:lnSpc>
            </a:pPr>
            <a:r>
              <a:rPr dirty="0" smtClean="0">
                <a:ea typeface="微软雅黑" panose="020B0503020204020204" pitchFamily="34" charset="-122"/>
              </a:rPr>
              <a:t>项目主要人员的组建、商讨提出项目（学习英语小程序）、加强成员对项目的理解、项目主要功能的确定、项目执行程序的建立、项目主要控制节点进度计划编制、制定项目总体计划。</a:t>
            </a:r>
            <a:endParaRPr dirty="0" smtClean="0">
              <a:ea typeface="微软雅黑" panose="020B0503020204020204" pitchFamily="34" charset="-122"/>
            </a:endParaRPr>
          </a:p>
        </p:txBody>
      </p:sp>
      <p:cxnSp>
        <p:nvCxnSpPr>
          <p:cNvPr id="48" name="直接连接符 47"/>
          <p:cNvCxnSpPr/>
          <p:nvPr/>
        </p:nvCxnSpPr>
        <p:spPr>
          <a:xfrm>
            <a:off x="3667970" y="3638522"/>
            <a:ext cx="0" cy="1866612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ïSḷïḍé"/>
          <p:cNvSpPr/>
          <p:nvPr/>
        </p:nvSpPr>
        <p:spPr bwMode="auto">
          <a:xfrm>
            <a:off x="4048258" y="2957802"/>
            <a:ext cx="3198495" cy="37769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zh-CN" altLang="en-US" b="1" dirty="0">
                <a:ea typeface="微软雅黑" panose="020B0503020204020204" pitchFamily="34" charset="-122"/>
                <a:sym typeface="+mn-ea"/>
              </a:rPr>
              <a:t>项目执行阶段</a:t>
            </a:r>
            <a:endParaRPr dirty="0" smtClean="0">
              <a:ea typeface="微软雅黑" panose="020B0503020204020204" pitchFamily="34" charset="-122"/>
            </a:endParaRPr>
          </a:p>
          <a:p>
            <a:pPr algn="l">
              <a:lnSpc>
                <a:spcPct val="150000"/>
              </a:lnSpc>
            </a:pPr>
            <a:r>
              <a:rPr dirty="0" smtClean="0">
                <a:ea typeface="微软雅黑" panose="020B0503020204020204" pitchFamily="34" charset="-122"/>
              </a:rPr>
              <a:t>项目工作的分配（前端、后端、视频制作、编写博客等）、监督小组工作人员工作情况、小组人员定时汇报工作内容、协调每位小组人员的工作，让效率最大化、项目人员互相多做沟通、控制项目的进度、查找相关资源参考。</a:t>
            </a:r>
            <a:endParaRPr dirty="0" smtClean="0">
              <a:ea typeface="微软雅黑" panose="020B0503020204020204" pitchFamily="34" charset="-122"/>
            </a:endParaRPr>
          </a:p>
        </p:txBody>
      </p:sp>
      <p:cxnSp>
        <p:nvCxnSpPr>
          <p:cNvPr id="53" name="直接连接符 52"/>
          <p:cNvCxnSpPr/>
          <p:nvPr/>
        </p:nvCxnSpPr>
        <p:spPr>
          <a:xfrm>
            <a:off x="7887194" y="3752187"/>
            <a:ext cx="0" cy="1866612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işļíḍê"/>
          <p:cNvSpPr/>
          <p:nvPr/>
        </p:nvSpPr>
        <p:spPr bwMode="auto">
          <a:xfrm>
            <a:off x="8145780" y="2957830"/>
            <a:ext cx="3613785" cy="36048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zh-CN" altLang="en-US" b="1" dirty="0" smtClean="0">
                <a:ea typeface="微软雅黑" panose="020B0503020204020204" pitchFamily="34" charset="-122"/>
                <a:sym typeface="+mn-ea"/>
              </a:rPr>
              <a:t>项目验收阶段</a:t>
            </a:r>
            <a:endParaRPr dirty="0" smtClean="0">
              <a:ea typeface="微软雅黑" panose="020B0503020204020204" pitchFamily="34" charset="-122"/>
            </a:endParaRPr>
          </a:p>
          <a:p>
            <a:pPr algn="l">
              <a:lnSpc>
                <a:spcPct val="150000"/>
              </a:lnSpc>
            </a:pPr>
            <a:r>
              <a:rPr dirty="0" smtClean="0">
                <a:ea typeface="微软雅黑" panose="020B0503020204020204" pitchFamily="34" charset="-122"/>
              </a:rPr>
              <a:t>开发人员检测英语小程序的代码、测试功能是否正常，都没有问题就可以进行最后的验收。</a:t>
            </a:r>
            <a:endParaRPr dirty="0" smtClean="0"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0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3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4" grpId="0"/>
      <p:bldP spid="84" grpId="1"/>
      <p:bldP spid="78" grpId="0"/>
      <p:bldP spid="78" grpId="1"/>
      <p:bldP spid="72" grpId="0"/>
      <p:bldP spid="72" grpId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35" name="图片 34" descr="图片包含 人员, 室内, 笔记本电脑, 墙壁&#10;&#10;描述已自动生成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rcRect/>
          <a:stretch>
            <a:fillRect/>
          </a:stretch>
        </p:blipFill>
        <p:spPr>
          <a:xfrm>
            <a:off x="9352915" y="0"/>
            <a:ext cx="2839085" cy="3274060"/>
          </a:xfrm>
          <a:custGeom>
            <a:avLst/>
            <a:gdLst>
              <a:gd name="connsiteX0" fmla="*/ 3022497 w 5943490"/>
              <a:gd name="connsiteY0" fmla="*/ 0 h 6853238"/>
              <a:gd name="connsiteX1" fmla="*/ 4403624 w 5943490"/>
              <a:gd name="connsiteY1" fmla="*/ 0 h 6853238"/>
              <a:gd name="connsiteX2" fmla="*/ 5943490 w 5943490"/>
              <a:gd name="connsiteY2" fmla="*/ 1539867 h 6853238"/>
              <a:gd name="connsiteX3" fmla="*/ 5943490 w 5943490"/>
              <a:gd name="connsiteY3" fmla="*/ 5308609 h 6853238"/>
              <a:gd name="connsiteX4" fmla="*/ 4398874 w 5943490"/>
              <a:gd name="connsiteY4" fmla="*/ 6853225 h 6853238"/>
              <a:gd name="connsiteX5" fmla="*/ 4398860 w 5943490"/>
              <a:gd name="connsiteY5" fmla="*/ 6853238 h 6853238"/>
              <a:gd name="connsiteX6" fmla="*/ 3027261 w 5943490"/>
              <a:gd name="connsiteY6" fmla="*/ 6853238 h 6853238"/>
              <a:gd name="connsiteX7" fmla="*/ 3027247 w 5943490"/>
              <a:gd name="connsiteY7" fmla="*/ 6853225 h 6853238"/>
              <a:gd name="connsiteX8" fmla="*/ 284074 w 5943490"/>
              <a:gd name="connsiteY8" fmla="*/ 4110052 h 6853238"/>
              <a:gd name="connsiteX9" fmla="*/ 284074 w 5943490"/>
              <a:gd name="connsiteY9" fmla="*/ 2738425 h 6853238"/>
              <a:gd name="connsiteX10" fmla="*/ 3022497 w 5943490"/>
              <a:gd name="connsiteY10" fmla="*/ 0 h 6853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943490" h="6853238">
                <a:moveTo>
                  <a:pt x="3022497" y="0"/>
                </a:moveTo>
                <a:lnTo>
                  <a:pt x="4403624" y="0"/>
                </a:lnTo>
                <a:lnTo>
                  <a:pt x="5943490" y="1539867"/>
                </a:lnTo>
                <a:lnTo>
                  <a:pt x="5943490" y="5308609"/>
                </a:lnTo>
                <a:lnTo>
                  <a:pt x="4398874" y="6853225"/>
                </a:lnTo>
                <a:lnTo>
                  <a:pt x="4398860" y="6853238"/>
                </a:lnTo>
                <a:lnTo>
                  <a:pt x="3027261" y="6853238"/>
                </a:lnTo>
                <a:lnTo>
                  <a:pt x="3027247" y="6853225"/>
                </a:lnTo>
                <a:lnTo>
                  <a:pt x="284074" y="4110052"/>
                </a:lnTo>
                <a:cubicBezTo>
                  <a:pt x="-94691" y="3731288"/>
                  <a:pt x="-94691" y="3117189"/>
                  <a:pt x="284074" y="2738425"/>
                </a:cubicBezTo>
                <a:lnTo>
                  <a:pt x="3022497" y="0"/>
                </a:lnTo>
                <a:close/>
              </a:path>
            </a:pathLst>
          </a:custGeom>
        </p:spPr>
      </p:pic>
      <p:sp>
        <p:nvSpPr>
          <p:cNvPr id="2" name="文本框 1"/>
          <p:cNvSpPr txBox="1"/>
          <p:nvPr/>
        </p:nvSpPr>
        <p:spPr>
          <a:xfrm>
            <a:off x="587375" y="314325"/>
            <a:ext cx="3662045" cy="9531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800" dirty="0">
                <a:ea typeface="微软雅黑" panose="020B0503020204020204" pitchFamily="34" charset="-122"/>
                <a:sym typeface="+mn-ea"/>
              </a:rPr>
              <a:t>项目架构设计图</a:t>
            </a:r>
            <a:endParaRPr lang="zh-CN" altLang="en-US" sz="2800" dirty="0">
              <a:ea typeface="微软雅黑" panose="020B0503020204020204" pitchFamily="34" charset="-122"/>
              <a:sym typeface="+mn-ea"/>
            </a:endParaRPr>
          </a:p>
          <a:p>
            <a:endParaRPr lang="zh-CN" altLang="en-US" sz="2800"/>
          </a:p>
        </p:txBody>
      </p:sp>
      <p:pic>
        <p:nvPicPr>
          <p:cNvPr id="100" name="图片 99"/>
          <p:cNvPicPr/>
          <p:nvPr/>
        </p:nvPicPr>
        <p:blipFill>
          <a:blip r:embed="rId3"/>
          <a:stretch>
            <a:fillRect/>
          </a:stretch>
        </p:blipFill>
        <p:spPr>
          <a:xfrm>
            <a:off x="587375" y="942340"/>
            <a:ext cx="7546340" cy="5348605"/>
          </a:xfrm>
          <a:prstGeom prst="rect">
            <a:avLst/>
          </a:prstGeom>
          <a:noFill/>
          <a:ln w="9525">
            <a:noFill/>
          </a:ln>
        </p:spPr>
      </p:pic>
    </p:spTree>
    <p:custDataLst>
      <p:tags r:id="rId4"/>
    </p:custData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50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35" name="图片 34" descr="图片包含 人员, 室内, 笔记本电脑, 墙壁&#10;&#10;描述已自动生成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rcRect/>
          <a:stretch>
            <a:fillRect/>
          </a:stretch>
        </p:blipFill>
        <p:spPr>
          <a:xfrm>
            <a:off x="9352915" y="0"/>
            <a:ext cx="2839085" cy="3274060"/>
          </a:xfrm>
          <a:custGeom>
            <a:avLst/>
            <a:gdLst>
              <a:gd name="connsiteX0" fmla="*/ 3022497 w 5943490"/>
              <a:gd name="connsiteY0" fmla="*/ 0 h 6853238"/>
              <a:gd name="connsiteX1" fmla="*/ 4403624 w 5943490"/>
              <a:gd name="connsiteY1" fmla="*/ 0 h 6853238"/>
              <a:gd name="connsiteX2" fmla="*/ 5943490 w 5943490"/>
              <a:gd name="connsiteY2" fmla="*/ 1539867 h 6853238"/>
              <a:gd name="connsiteX3" fmla="*/ 5943490 w 5943490"/>
              <a:gd name="connsiteY3" fmla="*/ 5308609 h 6853238"/>
              <a:gd name="connsiteX4" fmla="*/ 4398874 w 5943490"/>
              <a:gd name="connsiteY4" fmla="*/ 6853225 h 6853238"/>
              <a:gd name="connsiteX5" fmla="*/ 4398860 w 5943490"/>
              <a:gd name="connsiteY5" fmla="*/ 6853238 h 6853238"/>
              <a:gd name="connsiteX6" fmla="*/ 3027261 w 5943490"/>
              <a:gd name="connsiteY6" fmla="*/ 6853238 h 6853238"/>
              <a:gd name="connsiteX7" fmla="*/ 3027247 w 5943490"/>
              <a:gd name="connsiteY7" fmla="*/ 6853225 h 6853238"/>
              <a:gd name="connsiteX8" fmla="*/ 284074 w 5943490"/>
              <a:gd name="connsiteY8" fmla="*/ 4110052 h 6853238"/>
              <a:gd name="connsiteX9" fmla="*/ 284074 w 5943490"/>
              <a:gd name="connsiteY9" fmla="*/ 2738425 h 6853238"/>
              <a:gd name="connsiteX10" fmla="*/ 3022497 w 5943490"/>
              <a:gd name="connsiteY10" fmla="*/ 0 h 6853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943490" h="6853238">
                <a:moveTo>
                  <a:pt x="3022497" y="0"/>
                </a:moveTo>
                <a:lnTo>
                  <a:pt x="4403624" y="0"/>
                </a:lnTo>
                <a:lnTo>
                  <a:pt x="5943490" y="1539867"/>
                </a:lnTo>
                <a:lnTo>
                  <a:pt x="5943490" y="5308609"/>
                </a:lnTo>
                <a:lnTo>
                  <a:pt x="4398874" y="6853225"/>
                </a:lnTo>
                <a:lnTo>
                  <a:pt x="4398860" y="6853238"/>
                </a:lnTo>
                <a:lnTo>
                  <a:pt x="3027261" y="6853238"/>
                </a:lnTo>
                <a:lnTo>
                  <a:pt x="3027247" y="6853225"/>
                </a:lnTo>
                <a:lnTo>
                  <a:pt x="284074" y="4110052"/>
                </a:lnTo>
                <a:cubicBezTo>
                  <a:pt x="-94691" y="3731288"/>
                  <a:pt x="-94691" y="3117189"/>
                  <a:pt x="284074" y="2738425"/>
                </a:cubicBezTo>
                <a:lnTo>
                  <a:pt x="3022497" y="0"/>
                </a:lnTo>
                <a:close/>
              </a:path>
            </a:pathLst>
          </a:custGeom>
        </p:spPr>
      </p:pic>
      <p:sp>
        <p:nvSpPr>
          <p:cNvPr id="2" name="文本框 1"/>
          <p:cNvSpPr txBox="1"/>
          <p:nvPr/>
        </p:nvSpPr>
        <p:spPr>
          <a:xfrm>
            <a:off x="587375" y="314325"/>
            <a:ext cx="3662045" cy="9531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800" dirty="0">
                <a:ea typeface="微软雅黑" panose="020B0503020204020204" pitchFamily="34" charset="-122"/>
                <a:sym typeface="+mn-ea"/>
              </a:rPr>
              <a:t>具体内容页</a:t>
            </a:r>
            <a:r>
              <a:rPr lang="zh-CN" altLang="en-US" sz="2800" dirty="0">
                <a:ea typeface="微软雅黑" panose="020B0503020204020204" pitchFamily="34" charset="-122"/>
                <a:sym typeface="+mn-ea"/>
              </a:rPr>
              <a:t>结构图</a:t>
            </a:r>
            <a:endParaRPr lang="zh-CN" altLang="en-US" sz="2800" dirty="0">
              <a:ea typeface="微软雅黑" panose="020B0503020204020204" pitchFamily="34" charset="-122"/>
              <a:sym typeface="+mn-ea"/>
            </a:endParaRPr>
          </a:p>
          <a:p>
            <a:endParaRPr lang="zh-CN" altLang="en-US" sz="2800"/>
          </a:p>
        </p:txBody>
      </p:sp>
      <p:pic>
        <p:nvPicPr>
          <p:cNvPr id="101" name="图片 100"/>
          <p:cNvPicPr/>
          <p:nvPr/>
        </p:nvPicPr>
        <p:blipFill>
          <a:blip r:embed="rId3"/>
          <a:stretch>
            <a:fillRect/>
          </a:stretch>
        </p:blipFill>
        <p:spPr>
          <a:xfrm>
            <a:off x="587375" y="1133158"/>
            <a:ext cx="8107680" cy="5120005"/>
          </a:xfrm>
          <a:prstGeom prst="rect">
            <a:avLst/>
          </a:prstGeom>
          <a:noFill/>
          <a:ln w="9525">
            <a:noFill/>
          </a:ln>
        </p:spPr>
      </p:pic>
    </p:spTree>
    <p:custDataLst>
      <p:tags r:id="rId4"/>
    </p:custData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50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35" name="图片 34" descr="图片包含 人员, 室内, 笔记本电脑, 墙壁&#10;&#10;描述已自动生成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rcRect/>
          <a:stretch>
            <a:fillRect/>
          </a:stretch>
        </p:blipFill>
        <p:spPr>
          <a:xfrm>
            <a:off x="9352915" y="0"/>
            <a:ext cx="2839085" cy="3274060"/>
          </a:xfrm>
          <a:custGeom>
            <a:avLst/>
            <a:gdLst>
              <a:gd name="connsiteX0" fmla="*/ 3022497 w 5943490"/>
              <a:gd name="connsiteY0" fmla="*/ 0 h 6853238"/>
              <a:gd name="connsiteX1" fmla="*/ 4403624 w 5943490"/>
              <a:gd name="connsiteY1" fmla="*/ 0 h 6853238"/>
              <a:gd name="connsiteX2" fmla="*/ 5943490 w 5943490"/>
              <a:gd name="connsiteY2" fmla="*/ 1539867 h 6853238"/>
              <a:gd name="connsiteX3" fmla="*/ 5943490 w 5943490"/>
              <a:gd name="connsiteY3" fmla="*/ 5308609 h 6853238"/>
              <a:gd name="connsiteX4" fmla="*/ 4398874 w 5943490"/>
              <a:gd name="connsiteY4" fmla="*/ 6853225 h 6853238"/>
              <a:gd name="connsiteX5" fmla="*/ 4398860 w 5943490"/>
              <a:gd name="connsiteY5" fmla="*/ 6853238 h 6853238"/>
              <a:gd name="connsiteX6" fmla="*/ 3027261 w 5943490"/>
              <a:gd name="connsiteY6" fmla="*/ 6853238 h 6853238"/>
              <a:gd name="connsiteX7" fmla="*/ 3027247 w 5943490"/>
              <a:gd name="connsiteY7" fmla="*/ 6853225 h 6853238"/>
              <a:gd name="connsiteX8" fmla="*/ 284074 w 5943490"/>
              <a:gd name="connsiteY8" fmla="*/ 4110052 h 6853238"/>
              <a:gd name="connsiteX9" fmla="*/ 284074 w 5943490"/>
              <a:gd name="connsiteY9" fmla="*/ 2738425 h 6853238"/>
              <a:gd name="connsiteX10" fmla="*/ 3022497 w 5943490"/>
              <a:gd name="connsiteY10" fmla="*/ 0 h 6853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943490" h="6853238">
                <a:moveTo>
                  <a:pt x="3022497" y="0"/>
                </a:moveTo>
                <a:lnTo>
                  <a:pt x="4403624" y="0"/>
                </a:lnTo>
                <a:lnTo>
                  <a:pt x="5943490" y="1539867"/>
                </a:lnTo>
                <a:lnTo>
                  <a:pt x="5943490" y="5308609"/>
                </a:lnTo>
                <a:lnTo>
                  <a:pt x="4398874" y="6853225"/>
                </a:lnTo>
                <a:lnTo>
                  <a:pt x="4398860" y="6853238"/>
                </a:lnTo>
                <a:lnTo>
                  <a:pt x="3027261" y="6853238"/>
                </a:lnTo>
                <a:lnTo>
                  <a:pt x="3027247" y="6853225"/>
                </a:lnTo>
                <a:lnTo>
                  <a:pt x="284074" y="4110052"/>
                </a:lnTo>
                <a:cubicBezTo>
                  <a:pt x="-94691" y="3731288"/>
                  <a:pt x="-94691" y="3117189"/>
                  <a:pt x="284074" y="2738425"/>
                </a:cubicBezTo>
                <a:lnTo>
                  <a:pt x="3022497" y="0"/>
                </a:lnTo>
                <a:close/>
              </a:path>
            </a:pathLst>
          </a:custGeom>
        </p:spPr>
      </p:pic>
      <p:sp>
        <p:nvSpPr>
          <p:cNvPr id="2" name="文本框 1"/>
          <p:cNvSpPr txBox="1"/>
          <p:nvPr/>
        </p:nvSpPr>
        <p:spPr>
          <a:xfrm>
            <a:off x="587375" y="314325"/>
            <a:ext cx="3662045" cy="9531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800" dirty="0">
                <a:ea typeface="微软雅黑" panose="020B0503020204020204" pitchFamily="34" charset="-122"/>
                <a:sym typeface="+mn-ea"/>
              </a:rPr>
              <a:t>个人用户页</a:t>
            </a:r>
            <a:r>
              <a:rPr lang="zh-CN" altLang="en-US" sz="2800" dirty="0">
                <a:ea typeface="微软雅黑" panose="020B0503020204020204" pitchFamily="34" charset="-122"/>
                <a:sym typeface="+mn-ea"/>
              </a:rPr>
              <a:t>结构图</a:t>
            </a:r>
            <a:endParaRPr lang="zh-CN" altLang="en-US" sz="2800" dirty="0">
              <a:ea typeface="微软雅黑" panose="020B0503020204020204" pitchFamily="34" charset="-122"/>
              <a:sym typeface="+mn-ea"/>
            </a:endParaRPr>
          </a:p>
          <a:p>
            <a:endParaRPr lang="zh-CN" altLang="en-US" sz="2800"/>
          </a:p>
        </p:txBody>
      </p:sp>
      <p:pic>
        <p:nvPicPr>
          <p:cNvPr id="4" name="图片 3" descr="QQ图片2022111822274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7375" y="973455"/>
            <a:ext cx="6361430" cy="5803265"/>
          </a:xfrm>
          <a:prstGeom prst="rect">
            <a:avLst/>
          </a:prstGeom>
        </p:spPr>
      </p:pic>
    </p:spTree>
    <p:custDataLst>
      <p:tags r:id="rId4"/>
    </p:custData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50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35" name="图片 34" descr="图片包含 人员, 室内, 笔记本电脑, 墙壁&#10;&#10;描述已自动生成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rcRect/>
          <a:stretch>
            <a:fillRect/>
          </a:stretch>
        </p:blipFill>
        <p:spPr>
          <a:xfrm>
            <a:off x="9352915" y="0"/>
            <a:ext cx="2839085" cy="3274060"/>
          </a:xfrm>
          <a:custGeom>
            <a:avLst/>
            <a:gdLst>
              <a:gd name="connsiteX0" fmla="*/ 3022497 w 5943490"/>
              <a:gd name="connsiteY0" fmla="*/ 0 h 6853238"/>
              <a:gd name="connsiteX1" fmla="*/ 4403624 w 5943490"/>
              <a:gd name="connsiteY1" fmla="*/ 0 h 6853238"/>
              <a:gd name="connsiteX2" fmla="*/ 5943490 w 5943490"/>
              <a:gd name="connsiteY2" fmla="*/ 1539867 h 6853238"/>
              <a:gd name="connsiteX3" fmla="*/ 5943490 w 5943490"/>
              <a:gd name="connsiteY3" fmla="*/ 5308609 h 6853238"/>
              <a:gd name="connsiteX4" fmla="*/ 4398874 w 5943490"/>
              <a:gd name="connsiteY4" fmla="*/ 6853225 h 6853238"/>
              <a:gd name="connsiteX5" fmla="*/ 4398860 w 5943490"/>
              <a:gd name="connsiteY5" fmla="*/ 6853238 h 6853238"/>
              <a:gd name="connsiteX6" fmla="*/ 3027261 w 5943490"/>
              <a:gd name="connsiteY6" fmla="*/ 6853238 h 6853238"/>
              <a:gd name="connsiteX7" fmla="*/ 3027247 w 5943490"/>
              <a:gd name="connsiteY7" fmla="*/ 6853225 h 6853238"/>
              <a:gd name="connsiteX8" fmla="*/ 284074 w 5943490"/>
              <a:gd name="connsiteY8" fmla="*/ 4110052 h 6853238"/>
              <a:gd name="connsiteX9" fmla="*/ 284074 w 5943490"/>
              <a:gd name="connsiteY9" fmla="*/ 2738425 h 6853238"/>
              <a:gd name="connsiteX10" fmla="*/ 3022497 w 5943490"/>
              <a:gd name="connsiteY10" fmla="*/ 0 h 6853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943490" h="6853238">
                <a:moveTo>
                  <a:pt x="3022497" y="0"/>
                </a:moveTo>
                <a:lnTo>
                  <a:pt x="4403624" y="0"/>
                </a:lnTo>
                <a:lnTo>
                  <a:pt x="5943490" y="1539867"/>
                </a:lnTo>
                <a:lnTo>
                  <a:pt x="5943490" y="5308609"/>
                </a:lnTo>
                <a:lnTo>
                  <a:pt x="4398874" y="6853225"/>
                </a:lnTo>
                <a:lnTo>
                  <a:pt x="4398860" y="6853238"/>
                </a:lnTo>
                <a:lnTo>
                  <a:pt x="3027261" y="6853238"/>
                </a:lnTo>
                <a:lnTo>
                  <a:pt x="3027247" y="6853225"/>
                </a:lnTo>
                <a:lnTo>
                  <a:pt x="284074" y="4110052"/>
                </a:lnTo>
                <a:cubicBezTo>
                  <a:pt x="-94691" y="3731288"/>
                  <a:pt x="-94691" y="3117189"/>
                  <a:pt x="284074" y="2738425"/>
                </a:cubicBezTo>
                <a:lnTo>
                  <a:pt x="3022497" y="0"/>
                </a:lnTo>
                <a:close/>
              </a:path>
            </a:pathLst>
          </a:custGeom>
        </p:spPr>
      </p:pic>
      <p:sp>
        <p:nvSpPr>
          <p:cNvPr id="2" name="文本框 1"/>
          <p:cNvSpPr txBox="1"/>
          <p:nvPr/>
        </p:nvSpPr>
        <p:spPr>
          <a:xfrm>
            <a:off x="587375" y="314325"/>
            <a:ext cx="3662045" cy="9531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800" dirty="0">
                <a:ea typeface="微软雅黑" panose="020B0503020204020204" pitchFamily="34" charset="-122"/>
                <a:sym typeface="+mn-ea"/>
              </a:rPr>
              <a:t>实际进度曲线燃尽图</a:t>
            </a:r>
            <a:endParaRPr lang="zh-CN" altLang="en-US" sz="2800" dirty="0">
              <a:ea typeface="微软雅黑" panose="020B0503020204020204" pitchFamily="34" charset="-122"/>
              <a:sym typeface="+mn-ea"/>
            </a:endParaRPr>
          </a:p>
          <a:p>
            <a:endParaRPr lang="zh-CN" altLang="en-US" sz="2800"/>
          </a:p>
        </p:txBody>
      </p:sp>
      <p:pic>
        <p:nvPicPr>
          <p:cNvPr id="3" name="图片 2" descr="Cache_-69781b247de191df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3370" y="1527175"/>
            <a:ext cx="8867775" cy="4904740"/>
          </a:xfrm>
          <a:prstGeom prst="rect">
            <a:avLst/>
          </a:prstGeom>
        </p:spPr>
      </p:pic>
    </p:spTree>
    <p:custDataLst>
      <p:tags r:id="rId4"/>
    </p:custData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50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35" name="图片 34" descr="图片包含 人员, 室内, 笔记本电脑, 墙壁&#10;&#10;描述已自动生成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rcRect/>
          <a:stretch>
            <a:fillRect/>
          </a:stretch>
        </p:blipFill>
        <p:spPr>
          <a:xfrm>
            <a:off x="9352915" y="0"/>
            <a:ext cx="2839085" cy="3274060"/>
          </a:xfrm>
          <a:custGeom>
            <a:avLst/>
            <a:gdLst>
              <a:gd name="connsiteX0" fmla="*/ 3022497 w 5943490"/>
              <a:gd name="connsiteY0" fmla="*/ 0 h 6853238"/>
              <a:gd name="connsiteX1" fmla="*/ 4403624 w 5943490"/>
              <a:gd name="connsiteY1" fmla="*/ 0 h 6853238"/>
              <a:gd name="connsiteX2" fmla="*/ 5943490 w 5943490"/>
              <a:gd name="connsiteY2" fmla="*/ 1539867 h 6853238"/>
              <a:gd name="connsiteX3" fmla="*/ 5943490 w 5943490"/>
              <a:gd name="connsiteY3" fmla="*/ 5308609 h 6853238"/>
              <a:gd name="connsiteX4" fmla="*/ 4398874 w 5943490"/>
              <a:gd name="connsiteY4" fmla="*/ 6853225 h 6853238"/>
              <a:gd name="connsiteX5" fmla="*/ 4398860 w 5943490"/>
              <a:gd name="connsiteY5" fmla="*/ 6853238 h 6853238"/>
              <a:gd name="connsiteX6" fmla="*/ 3027261 w 5943490"/>
              <a:gd name="connsiteY6" fmla="*/ 6853238 h 6853238"/>
              <a:gd name="connsiteX7" fmla="*/ 3027247 w 5943490"/>
              <a:gd name="connsiteY7" fmla="*/ 6853225 h 6853238"/>
              <a:gd name="connsiteX8" fmla="*/ 284074 w 5943490"/>
              <a:gd name="connsiteY8" fmla="*/ 4110052 h 6853238"/>
              <a:gd name="connsiteX9" fmla="*/ 284074 w 5943490"/>
              <a:gd name="connsiteY9" fmla="*/ 2738425 h 6853238"/>
              <a:gd name="connsiteX10" fmla="*/ 3022497 w 5943490"/>
              <a:gd name="connsiteY10" fmla="*/ 0 h 6853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943490" h="6853238">
                <a:moveTo>
                  <a:pt x="3022497" y="0"/>
                </a:moveTo>
                <a:lnTo>
                  <a:pt x="4403624" y="0"/>
                </a:lnTo>
                <a:lnTo>
                  <a:pt x="5943490" y="1539867"/>
                </a:lnTo>
                <a:lnTo>
                  <a:pt x="5943490" y="5308609"/>
                </a:lnTo>
                <a:lnTo>
                  <a:pt x="4398874" y="6853225"/>
                </a:lnTo>
                <a:lnTo>
                  <a:pt x="4398860" y="6853238"/>
                </a:lnTo>
                <a:lnTo>
                  <a:pt x="3027261" y="6853238"/>
                </a:lnTo>
                <a:lnTo>
                  <a:pt x="3027247" y="6853225"/>
                </a:lnTo>
                <a:lnTo>
                  <a:pt x="284074" y="4110052"/>
                </a:lnTo>
                <a:cubicBezTo>
                  <a:pt x="-94691" y="3731288"/>
                  <a:pt x="-94691" y="3117189"/>
                  <a:pt x="284074" y="2738425"/>
                </a:cubicBezTo>
                <a:lnTo>
                  <a:pt x="3022497" y="0"/>
                </a:lnTo>
                <a:close/>
              </a:path>
            </a:pathLst>
          </a:custGeom>
        </p:spPr>
      </p:pic>
      <p:sp>
        <p:nvSpPr>
          <p:cNvPr id="2" name="文本框 1"/>
          <p:cNvSpPr txBox="1"/>
          <p:nvPr/>
        </p:nvSpPr>
        <p:spPr>
          <a:xfrm>
            <a:off x="587375" y="314325"/>
            <a:ext cx="3662045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800" dirty="0">
                <a:ea typeface="微软雅黑" panose="020B0503020204020204" pitchFamily="34" charset="-122"/>
                <a:sym typeface="+mn-ea"/>
              </a:rPr>
              <a:t>项目实际架构</a:t>
            </a:r>
            <a:endParaRPr lang="zh-CN" altLang="en-US" sz="2800" dirty="0"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587375" y="902335"/>
            <a:ext cx="269811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l"/>
            <a:r>
              <a:rPr lang="zh-CN" altLang="en-US"/>
              <a:t>前端：小程序框架</a:t>
            </a:r>
            <a:endParaRPr lang="zh-CN" altLang="en-US"/>
          </a:p>
        </p:txBody>
      </p:sp>
      <p:sp>
        <p:nvSpPr>
          <p:cNvPr id="4" name="文本框 3"/>
          <p:cNvSpPr txBox="1"/>
          <p:nvPr/>
        </p:nvSpPr>
        <p:spPr>
          <a:xfrm>
            <a:off x="587375" y="1437640"/>
            <a:ext cx="3002280" cy="3987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l"/>
            <a:r>
              <a:rPr lang="zh-CN" altLang="en-US"/>
              <a:t>·</a:t>
            </a:r>
            <a:r>
              <a:rPr lang="zh-CN" altLang="en-US" sz="2000" b="1"/>
              <a:t>逻辑层</a:t>
            </a:r>
            <a:endParaRPr lang="zh-CN" altLang="en-US" sz="2000" b="1"/>
          </a:p>
        </p:txBody>
      </p:sp>
      <p:sp>
        <p:nvSpPr>
          <p:cNvPr id="5" name="文本框 4"/>
          <p:cNvSpPr txBox="1"/>
          <p:nvPr/>
        </p:nvSpPr>
        <p:spPr>
          <a:xfrm>
            <a:off x="587375" y="2228215"/>
            <a:ext cx="312420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l"/>
            <a:r>
              <a:rPr lang="zh-CN" altLang="en-US"/>
              <a:t>页面生命周期（例）</a:t>
            </a:r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7375" y="3274060"/>
            <a:ext cx="5303520" cy="1615440"/>
          </a:xfrm>
          <a:prstGeom prst="rect">
            <a:avLst/>
          </a:prstGeom>
        </p:spPr>
      </p:pic>
    </p:spTree>
    <p:custDataLst>
      <p:tags r:id="rId4"/>
    </p:custData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50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4" grpId="1"/>
      <p:bldP spid="5" grpId="0"/>
      <p:bldP spid="5" grpId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35" name="图片 34" descr="图片包含 人员, 室内, 笔记本电脑, 墙壁&#10;&#10;描述已自动生成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rcRect/>
          <a:stretch>
            <a:fillRect/>
          </a:stretch>
        </p:blipFill>
        <p:spPr>
          <a:xfrm>
            <a:off x="9352915" y="0"/>
            <a:ext cx="2839085" cy="3274060"/>
          </a:xfrm>
          <a:custGeom>
            <a:avLst/>
            <a:gdLst>
              <a:gd name="connsiteX0" fmla="*/ 3022497 w 5943490"/>
              <a:gd name="connsiteY0" fmla="*/ 0 h 6853238"/>
              <a:gd name="connsiteX1" fmla="*/ 4403624 w 5943490"/>
              <a:gd name="connsiteY1" fmla="*/ 0 h 6853238"/>
              <a:gd name="connsiteX2" fmla="*/ 5943490 w 5943490"/>
              <a:gd name="connsiteY2" fmla="*/ 1539867 h 6853238"/>
              <a:gd name="connsiteX3" fmla="*/ 5943490 w 5943490"/>
              <a:gd name="connsiteY3" fmla="*/ 5308609 h 6853238"/>
              <a:gd name="connsiteX4" fmla="*/ 4398874 w 5943490"/>
              <a:gd name="connsiteY4" fmla="*/ 6853225 h 6853238"/>
              <a:gd name="connsiteX5" fmla="*/ 4398860 w 5943490"/>
              <a:gd name="connsiteY5" fmla="*/ 6853238 h 6853238"/>
              <a:gd name="connsiteX6" fmla="*/ 3027261 w 5943490"/>
              <a:gd name="connsiteY6" fmla="*/ 6853238 h 6853238"/>
              <a:gd name="connsiteX7" fmla="*/ 3027247 w 5943490"/>
              <a:gd name="connsiteY7" fmla="*/ 6853225 h 6853238"/>
              <a:gd name="connsiteX8" fmla="*/ 284074 w 5943490"/>
              <a:gd name="connsiteY8" fmla="*/ 4110052 h 6853238"/>
              <a:gd name="connsiteX9" fmla="*/ 284074 w 5943490"/>
              <a:gd name="connsiteY9" fmla="*/ 2738425 h 6853238"/>
              <a:gd name="connsiteX10" fmla="*/ 3022497 w 5943490"/>
              <a:gd name="connsiteY10" fmla="*/ 0 h 6853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943490" h="6853238">
                <a:moveTo>
                  <a:pt x="3022497" y="0"/>
                </a:moveTo>
                <a:lnTo>
                  <a:pt x="4403624" y="0"/>
                </a:lnTo>
                <a:lnTo>
                  <a:pt x="5943490" y="1539867"/>
                </a:lnTo>
                <a:lnTo>
                  <a:pt x="5943490" y="5308609"/>
                </a:lnTo>
                <a:lnTo>
                  <a:pt x="4398874" y="6853225"/>
                </a:lnTo>
                <a:lnTo>
                  <a:pt x="4398860" y="6853238"/>
                </a:lnTo>
                <a:lnTo>
                  <a:pt x="3027261" y="6853238"/>
                </a:lnTo>
                <a:lnTo>
                  <a:pt x="3027247" y="6853225"/>
                </a:lnTo>
                <a:lnTo>
                  <a:pt x="284074" y="4110052"/>
                </a:lnTo>
                <a:cubicBezTo>
                  <a:pt x="-94691" y="3731288"/>
                  <a:pt x="-94691" y="3117189"/>
                  <a:pt x="284074" y="2738425"/>
                </a:cubicBezTo>
                <a:lnTo>
                  <a:pt x="3022497" y="0"/>
                </a:lnTo>
                <a:close/>
              </a:path>
            </a:pathLst>
          </a:custGeom>
        </p:spPr>
      </p:pic>
      <p:sp>
        <p:nvSpPr>
          <p:cNvPr id="2" name="文本框 1"/>
          <p:cNvSpPr txBox="1"/>
          <p:nvPr/>
        </p:nvSpPr>
        <p:spPr>
          <a:xfrm>
            <a:off x="587375" y="314325"/>
            <a:ext cx="3662045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800" dirty="0">
                <a:ea typeface="微软雅黑" panose="020B0503020204020204" pitchFamily="34" charset="-122"/>
                <a:sym typeface="+mn-ea"/>
              </a:rPr>
              <a:t>项目实际架构</a:t>
            </a:r>
            <a:endParaRPr lang="zh-CN" altLang="en-US" sz="2800" dirty="0"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587375" y="836295"/>
            <a:ext cx="3002280" cy="3987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l"/>
            <a:r>
              <a:rPr lang="zh-CN" altLang="en-US"/>
              <a:t>·</a:t>
            </a:r>
            <a:r>
              <a:rPr lang="zh-CN" altLang="en-US" sz="2000" b="1"/>
              <a:t>视图层</a:t>
            </a:r>
            <a:endParaRPr lang="zh-CN" altLang="en-US" sz="2000" b="1"/>
          </a:p>
        </p:txBody>
      </p:sp>
      <p:sp>
        <p:nvSpPr>
          <p:cNvPr id="5" name="文本框 4"/>
          <p:cNvSpPr txBox="1"/>
          <p:nvPr/>
        </p:nvSpPr>
        <p:spPr>
          <a:xfrm>
            <a:off x="587375" y="1386205"/>
            <a:ext cx="312420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l"/>
            <a:r>
              <a:rPr lang="zh-CN" altLang="en-US"/>
              <a:t>使用到的技术：WXML</a:t>
            </a:r>
            <a:endParaRPr lang="zh-CN" altLang="en-US"/>
          </a:p>
        </p:txBody>
      </p:sp>
      <p:pic>
        <p:nvPicPr>
          <p:cNvPr id="7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2945" y="2032635"/>
            <a:ext cx="6725285" cy="4444365"/>
          </a:xfrm>
          <a:prstGeom prst="rect">
            <a:avLst/>
          </a:prstGeom>
          <a:noFill/>
          <a:ln>
            <a:noFill/>
          </a:ln>
        </p:spPr>
      </p:pic>
    </p:spTree>
    <p:custDataLst>
      <p:tags r:id="rId4"/>
    </p:custData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50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4" grpId="1"/>
      <p:bldP spid="5" grpId="0"/>
      <p:bldP spid="5" grpId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35" name="图片 34" descr="图片包含 人员, 室内, 笔记本电脑, 墙壁&#10;&#10;描述已自动生成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rcRect/>
          <a:stretch>
            <a:fillRect/>
          </a:stretch>
        </p:blipFill>
        <p:spPr>
          <a:xfrm>
            <a:off x="9352915" y="0"/>
            <a:ext cx="2839085" cy="3274060"/>
          </a:xfrm>
          <a:custGeom>
            <a:avLst/>
            <a:gdLst>
              <a:gd name="connsiteX0" fmla="*/ 3022497 w 5943490"/>
              <a:gd name="connsiteY0" fmla="*/ 0 h 6853238"/>
              <a:gd name="connsiteX1" fmla="*/ 4403624 w 5943490"/>
              <a:gd name="connsiteY1" fmla="*/ 0 h 6853238"/>
              <a:gd name="connsiteX2" fmla="*/ 5943490 w 5943490"/>
              <a:gd name="connsiteY2" fmla="*/ 1539867 h 6853238"/>
              <a:gd name="connsiteX3" fmla="*/ 5943490 w 5943490"/>
              <a:gd name="connsiteY3" fmla="*/ 5308609 h 6853238"/>
              <a:gd name="connsiteX4" fmla="*/ 4398874 w 5943490"/>
              <a:gd name="connsiteY4" fmla="*/ 6853225 h 6853238"/>
              <a:gd name="connsiteX5" fmla="*/ 4398860 w 5943490"/>
              <a:gd name="connsiteY5" fmla="*/ 6853238 h 6853238"/>
              <a:gd name="connsiteX6" fmla="*/ 3027261 w 5943490"/>
              <a:gd name="connsiteY6" fmla="*/ 6853238 h 6853238"/>
              <a:gd name="connsiteX7" fmla="*/ 3027247 w 5943490"/>
              <a:gd name="connsiteY7" fmla="*/ 6853225 h 6853238"/>
              <a:gd name="connsiteX8" fmla="*/ 284074 w 5943490"/>
              <a:gd name="connsiteY8" fmla="*/ 4110052 h 6853238"/>
              <a:gd name="connsiteX9" fmla="*/ 284074 w 5943490"/>
              <a:gd name="connsiteY9" fmla="*/ 2738425 h 6853238"/>
              <a:gd name="connsiteX10" fmla="*/ 3022497 w 5943490"/>
              <a:gd name="connsiteY10" fmla="*/ 0 h 6853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943490" h="6853238">
                <a:moveTo>
                  <a:pt x="3022497" y="0"/>
                </a:moveTo>
                <a:lnTo>
                  <a:pt x="4403624" y="0"/>
                </a:lnTo>
                <a:lnTo>
                  <a:pt x="5943490" y="1539867"/>
                </a:lnTo>
                <a:lnTo>
                  <a:pt x="5943490" y="5308609"/>
                </a:lnTo>
                <a:lnTo>
                  <a:pt x="4398874" y="6853225"/>
                </a:lnTo>
                <a:lnTo>
                  <a:pt x="4398860" y="6853238"/>
                </a:lnTo>
                <a:lnTo>
                  <a:pt x="3027261" y="6853238"/>
                </a:lnTo>
                <a:lnTo>
                  <a:pt x="3027247" y="6853225"/>
                </a:lnTo>
                <a:lnTo>
                  <a:pt x="284074" y="4110052"/>
                </a:lnTo>
                <a:cubicBezTo>
                  <a:pt x="-94691" y="3731288"/>
                  <a:pt x="-94691" y="3117189"/>
                  <a:pt x="284074" y="2738425"/>
                </a:cubicBezTo>
                <a:lnTo>
                  <a:pt x="3022497" y="0"/>
                </a:lnTo>
                <a:close/>
              </a:path>
            </a:pathLst>
          </a:custGeom>
        </p:spPr>
      </p:pic>
      <p:sp>
        <p:nvSpPr>
          <p:cNvPr id="2" name="文本框 1"/>
          <p:cNvSpPr txBox="1"/>
          <p:nvPr/>
        </p:nvSpPr>
        <p:spPr>
          <a:xfrm>
            <a:off x="587375" y="314325"/>
            <a:ext cx="3662045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800" dirty="0">
                <a:ea typeface="微软雅黑" panose="020B0503020204020204" pitchFamily="34" charset="-122"/>
                <a:sym typeface="+mn-ea"/>
              </a:rPr>
              <a:t>项目实际架构</a:t>
            </a:r>
            <a:endParaRPr lang="zh-CN" altLang="en-US" sz="2800" dirty="0"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719455" y="1072515"/>
            <a:ext cx="270827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>
                <a:sym typeface="+mn-ea"/>
              </a:rPr>
              <a:t>使用到的技术：</a:t>
            </a:r>
            <a:r>
              <a:rPr lang="zh-CN" altLang="en-US"/>
              <a:t>WXSS</a:t>
            </a:r>
            <a:endParaRPr lang="zh-CN" altLang="en-US"/>
          </a:p>
        </p:txBody>
      </p:sp>
      <p:pic>
        <p:nvPicPr>
          <p:cNvPr id="6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9455" y="1677670"/>
            <a:ext cx="5767705" cy="4655185"/>
          </a:xfrm>
          <a:prstGeom prst="rect">
            <a:avLst/>
          </a:prstGeom>
          <a:noFill/>
          <a:ln>
            <a:noFill/>
          </a:ln>
        </p:spPr>
      </p:pic>
    </p:spTree>
    <p:custDataLst>
      <p:tags r:id="rId4"/>
    </p:custData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50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3" grpId="1"/>
    </p:bldLst>
  </p:timing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KSO_WM_SLIDE_ID" val="diagram20201367_1"/>
  <p:tag name="KSO_WM_TEMPLATE_SUBCATEGORY" val="0"/>
  <p:tag name="KSO_WM_SLIDE_TYPE" val="text"/>
  <p:tag name="KSO_WM_SLIDE_SUBTYPE" val="diag"/>
  <p:tag name="KSO_WM_SLIDE_ITEM_CNT" val="3"/>
  <p:tag name="KSO_WM_SLIDE_INDEX" val="1"/>
  <p:tag name="KSO_WM_SLIDE_SIZE" val="317.164*266.673"/>
  <p:tag name="KSO_WM_SLIDE_POSITION" val="47.732*217.827"/>
  <p:tag name="KSO_WM_TAG_VERSION" val="1.0"/>
  <p:tag name="KSO_WM_BEAUTIFY_FLAG" val="#wm#"/>
  <p:tag name="KSO_WM_TEMPLATE_CATEGORY" val="diagram"/>
  <p:tag name="KSO_WM_TEMPLATE_INDEX" val="20201367"/>
  <p:tag name="KSO_WM_DIAGRAM_GROUP_CODE" val="m1-1"/>
  <p:tag name="KSO_WM_SLIDE_DIAGTYPE" val="m"/>
  <p:tag name="KSO_WM_SLIDE_LAYOUT" val="a_b_d_f_m"/>
  <p:tag name="KSO_WM_SLIDE_LAYOUT_CNT" val="1_1_1_1_1"/>
</p:tagLst>
</file>

<file path=ppt/tags/tag1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01367_1*d*1"/>
  <p:tag name="KSO_WM_TEMPLATE_CATEGORY" val="diagram"/>
  <p:tag name="KSO_WM_TEMPLATE_INDEX" val="20201367"/>
  <p:tag name="KSO_WM_UNIT_LAYERLEVEL" val="1"/>
  <p:tag name="KSO_WM_TAG_VERSION" val="1.0"/>
  <p:tag name="KSO_WM_BEAUTIFY_FLAG" val="#wm#"/>
  <p:tag name="KSO_WM_UNIT_VALUE" val="1902*1650"/>
  <p:tag name="KSO_WM_DIAGRAM_GROUP_CODE" val="m1-1"/>
  <p:tag name="KSO_WM_UNIT_TYPE" val="d"/>
  <p:tag name="KSO_WM_UNIT_INDEX" val="1"/>
  <p:tag name="KSO_WM_UNIT_USESOURCEFORMAT_APPLY" val="1"/>
  <p:tag name="KSO_WM_UNIT_PLACING_PICTURE_USER_VIEWPORT" val="{&quot;height&quot;:10792.500787401576,&quot;width&quot;:9359.826771653543}"/>
</p:tagLst>
</file>

<file path=ppt/tags/tag12.xml><?xml version="1.0" encoding="utf-8"?>
<p:tagLst xmlns:p="http://schemas.openxmlformats.org/presentationml/2006/main">
  <p:tag name="KSO_WM_SLIDE_ID" val="diagram20201367_1"/>
  <p:tag name="KSO_WM_TEMPLATE_SUBCATEGORY" val="0"/>
  <p:tag name="KSO_WM_SLIDE_TYPE" val="text"/>
  <p:tag name="KSO_WM_SLIDE_SUBTYPE" val="diag"/>
  <p:tag name="KSO_WM_SLIDE_ITEM_CNT" val="3"/>
  <p:tag name="KSO_WM_SLIDE_INDEX" val="1"/>
  <p:tag name="KSO_WM_SLIDE_SIZE" val="317.164*266.673"/>
  <p:tag name="KSO_WM_SLIDE_POSITION" val="47.732*217.827"/>
  <p:tag name="KSO_WM_TAG_VERSION" val="1.0"/>
  <p:tag name="KSO_WM_BEAUTIFY_FLAG" val="#wm#"/>
  <p:tag name="KSO_WM_TEMPLATE_CATEGORY" val="diagram"/>
  <p:tag name="KSO_WM_TEMPLATE_INDEX" val="20201367"/>
  <p:tag name="KSO_WM_DIAGRAM_GROUP_CODE" val="m1-1"/>
  <p:tag name="KSO_WM_SLIDE_DIAGTYPE" val="m"/>
  <p:tag name="KSO_WM_SLIDE_LAYOUT" val="a_b_d_f_m"/>
  <p:tag name="KSO_WM_SLIDE_LAYOUT_CNT" val="1_1_1_1_1"/>
</p:tagLst>
</file>

<file path=ppt/tags/tag1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01367_1*d*1"/>
  <p:tag name="KSO_WM_TEMPLATE_CATEGORY" val="diagram"/>
  <p:tag name="KSO_WM_TEMPLATE_INDEX" val="20201367"/>
  <p:tag name="KSO_WM_UNIT_LAYERLEVEL" val="1"/>
  <p:tag name="KSO_WM_TAG_VERSION" val="1.0"/>
  <p:tag name="KSO_WM_BEAUTIFY_FLAG" val="#wm#"/>
  <p:tag name="KSO_WM_UNIT_VALUE" val="1902*1650"/>
  <p:tag name="KSO_WM_DIAGRAM_GROUP_CODE" val="m1-1"/>
  <p:tag name="KSO_WM_UNIT_TYPE" val="d"/>
  <p:tag name="KSO_WM_UNIT_INDEX" val="1"/>
  <p:tag name="KSO_WM_UNIT_USESOURCEFORMAT_APPLY" val="1"/>
  <p:tag name="KSO_WM_UNIT_PLACING_PICTURE_USER_VIEWPORT" val="{&quot;height&quot;:10792.500787401576,&quot;width&quot;:9359.826771653543}"/>
</p:tagLst>
</file>

<file path=ppt/tags/tag14.xml><?xml version="1.0" encoding="utf-8"?>
<p:tagLst xmlns:p="http://schemas.openxmlformats.org/presentationml/2006/main">
  <p:tag name="KSO_WM_SLIDE_ID" val="diagram20201367_1"/>
  <p:tag name="KSO_WM_TEMPLATE_SUBCATEGORY" val="0"/>
  <p:tag name="KSO_WM_SLIDE_TYPE" val="text"/>
  <p:tag name="KSO_WM_SLIDE_SUBTYPE" val="diag"/>
  <p:tag name="KSO_WM_SLIDE_ITEM_CNT" val="3"/>
  <p:tag name="KSO_WM_SLIDE_INDEX" val="1"/>
  <p:tag name="KSO_WM_SLIDE_SIZE" val="317.164*266.673"/>
  <p:tag name="KSO_WM_SLIDE_POSITION" val="47.732*217.827"/>
  <p:tag name="KSO_WM_TAG_VERSION" val="1.0"/>
  <p:tag name="KSO_WM_BEAUTIFY_FLAG" val="#wm#"/>
  <p:tag name="KSO_WM_TEMPLATE_CATEGORY" val="diagram"/>
  <p:tag name="KSO_WM_TEMPLATE_INDEX" val="20201367"/>
  <p:tag name="KSO_WM_DIAGRAM_GROUP_CODE" val="m1-1"/>
  <p:tag name="KSO_WM_SLIDE_DIAGTYPE" val="m"/>
  <p:tag name="KSO_WM_SLIDE_LAYOUT" val="a_b_d_f_m"/>
  <p:tag name="KSO_WM_SLIDE_LAYOUT_CNT" val="1_1_1_1_1"/>
</p:tagLst>
</file>

<file path=ppt/tags/tag1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01367_1*d*1"/>
  <p:tag name="KSO_WM_TEMPLATE_CATEGORY" val="diagram"/>
  <p:tag name="KSO_WM_TEMPLATE_INDEX" val="20201367"/>
  <p:tag name="KSO_WM_UNIT_LAYERLEVEL" val="1"/>
  <p:tag name="KSO_WM_TAG_VERSION" val="1.0"/>
  <p:tag name="KSO_WM_BEAUTIFY_FLAG" val="#wm#"/>
  <p:tag name="KSO_WM_UNIT_VALUE" val="1902*1650"/>
  <p:tag name="KSO_WM_DIAGRAM_GROUP_CODE" val="m1-1"/>
  <p:tag name="KSO_WM_UNIT_TYPE" val="d"/>
  <p:tag name="KSO_WM_UNIT_INDEX" val="1"/>
  <p:tag name="KSO_WM_UNIT_USESOURCEFORMAT_APPLY" val="1"/>
  <p:tag name="KSO_WM_UNIT_PLACING_PICTURE_USER_VIEWPORT" val="{&quot;height&quot;:10792.500787401576,&quot;width&quot;:9359.826771653543}"/>
</p:tagLst>
</file>

<file path=ppt/tags/tag16.xml><?xml version="1.0" encoding="utf-8"?>
<p:tagLst xmlns:p="http://schemas.openxmlformats.org/presentationml/2006/main">
  <p:tag name="KSO_WM_SLIDE_ID" val="diagram20201367_1"/>
  <p:tag name="KSO_WM_TEMPLATE_SUBCATEGORY" val="0"/>
  <p:tag name="KSO_WM_SLIDE_TYPE" val="text"/>
  <p:tag name="KSO_WM_SLIDE_SUBTYPE" val="diag"/>
  <p:tag name="KSO_WM_SLIDE_ITEM_CNT" val="3"/>
  <p:tag name="KSO_WM_SLIDE_INDEX" val="1"/>
  <p:tag name="KSO_WM_SLIDE_SIZE" val="317.164*266.673"/>
  <p:tag name="KSO_WM_SLIDE_POSITION" val="47.732*217.827"/>
  <p:tag name="KSO_WM_TAG_VERSION" val="1.0"/>
  <p:tag name="KSO_WM_BEAUTIFY_FLAG" val="#wm#"/>
  <p:tag name="KSO_WM_TEMPLATE_CATEGORY" val="diagram"/>
  <p:tag name="KSO_WM_TEMPLATE_INDEX" val="20201367"/>
  <p:tag name="KSO_WM_DIAGRAM_GROUP_CODE" val="m1-1"/>
  <p:tag name="KSO_WM_SLIDE_DIAGTYPE" val="m"/>
  <p:tag name="KSO_WM_SLIDE_LAYOUT" val="a_b_d_f_m"/>
  <p:tag name="KSO_WM_SLIDE_LAYOUT_CNT" val="1_1_1_1_1"/>
</p:tagLst>
</file>

<file path=ppt/tags/tag17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01367_1*d*1"/>
  <p:tag name="KSO_WM_TEMPLATE_CATEGORY" val="diagram"/>
  <p:tag name="KSO_WM_TEMPLATE_INDEX" val="20201367"/>
  <p:tag name="KSO_WM_UNIT_LAYERLEVEL" val="1"/>
  <p:tag name="KSO_WM_TAG_VERSION" val="1.0"/>
  <p:tag name="KSO_WM_BEAUTIFY_FLAG" val="#wm#"/>
  <p:tag name="KSO_WM_UNIT_VALUE" val="1902*1650"/>
  <p:tag name="KSO_WM_DIAGRAM_GROUP_CODE" val="m1-1"/>
  <p:tag name="KSO_WM_UNIT_TYPE" val="d"/>
  <p:tag name="KSO_WM_UNIT_INDEX" val="1"/>
  <p:tag name="KSO_WM_UNIT_USESOURCEFORMAT_APPLY" val="1"/>
  <p:tag name="KSO_WM_UNIT_PLACING_PICTURE_USER_VIEWPORT" val="{&quot;height&quot;:10792.500787401576,&quot;width&quot;:9359.826771653543}"/>
</p:tagLst>
</file>

<file path=ppt/tags/tag18.xml><?xml version="1.0" encoding="utf-8"?>
<p:tagLst xmlns:p="http://schemas.openxmlformats.org/presentationml/2006/main">
  <p:tag name="KSO_WM_SLIDE_ID" val="diagram20201367_1"/>
  <p:tag name="KSO_WM_TEMPLATE_SUBCATEGORY" val="0"/>
  <p:tag name="KSO_WM_SLIDE_TYPE" val="text"/>
  <p:tag name="KSO_WM_SLIDE_SUBTYPE" val="diag"/>
  <p:tag name="KSO_WM_SLIDE_ITEM_CNT" val="3"/>
  <p:tag name="KSO_WM_SLIDE_INDEX" val="1"/>
  <p:tag name="KSO_WM_SLIDE_SIZE" val="317.164*266.673"/>
  <p:tag name="KSO_WM_SLIDE_POSITION" val="47.732*217.827"/>
  <p:tag name="KSO_WM_TAG_VERSION" val="1.0"/>
  <p:tag name="KSO_WM_BEAUTIFY_FLAG" val="#wm#"/>
  <p:tag name="KSO_WM_TEMPLATE_CATEGORY" val="diagram"/>
  <p:tag name="KSO_WM_TEMPLATE_INDEX" val="20201367"/>
  <p:tag name="KSO_WM_DIAGRAM_GROUP_CODE" val="m1-1"/>
  <p:tag name="KSO_WM_SLIDE_DIAGTYPE" val="m"/>
  <p:tag name="KSO_WM_SLIDE_LAYOUT" val="a_b_d_f_m"/>
  <p:tag name="KSO_WM_SLIDE_LAYOUT_CNT" val="1_1_1_1_1"/>
</p:tagLst>
</file>

<file path=ppt/tags/tag19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q1-1"/>
  <p:tag name="KSO_WM_UNIT_ID" val="diagram20186238_3*q_i*1_1"/>
  <p:tag name="KSO_WM_TEMPLATE_CATEGORY" val="diagram"/>
  <p:tag name="KSO_WM_TEMPLATE_INDEX" val="20186238"/>
  <p:tag name="KSO_WM_UNIT_LAYERLEVEL" val="1_1"/>
  <p:tag name="KSO_WM_TAG_VERSION" val="1.0"/>
  <p:tag name="KSO_WM_UNIT_FILL_FORE_SCHEMECOLOR_INDEX" val="14"/>
  <p:tag name="KSO_WM_UNIT_FILL_TYPE" val="1"/>
  <p:tag name="KSO_WM_UNIT_TEXT_FILL_FORE_SCHEMECOLOR_INDEX" val="2"/>
  <p:tag name="KSO_WM_UNIT_TEXT_FILL_TYPE" val="1"/>
</p:tagLst>
</file>

<file path=ppt/tags/tag2.xml><?xml version="1.0" encoding="utf-8"?>
<p:tagLst xmlns:p="http://schemas.openxmlformats.org/presentationml/2006/main">
  <p:tag name="THINKCELLSHAPEDONOTDELETE" val="tA6S0wzOvQ8a50SA42PUNRg"/>
</p:tagLst>
</file>

<file path=ppt/tags/tag20.xml><?xml version="1.0" encoding="utf-8"?>
<p:tagLst xmlns:p="http://schemas.openxmlformats.org/presentationml/2006/main">
  <p:tag name="KSO_WM_UNIT_ISCONTENTSTITLE" val="0"/>
  <p:tag name="KSO_WM_UNIT_RELATE_UNITID" val="layout_q1"/>
  <p:tag name="KSO_WM_UNIT_NOCLEAR" val="0"/>
  <p:tag name="KSO_WM_UNIT_VALUE" val="12"/>
  <p:tag name="KSO_WM_UNIT_HIGHLIGHT" val="0"/>
  <p:tag name="KSO_WM_UNIT_COMPATIBLE" val="0"/>
  <p:tag name="KSO_WM_UNIT_DIAGRAM_ISNUMVISUAL" val="0"/>
  <p:tag name="KSO_WM_UNIT_DIAGRAM_ISREFERUNIT" val="0"/>
  <p:tag name="KSO_WM_DIAGRAM_GROUP_CODE" val="q1-1"/>
  <p:tag name="KSO_WM_UNIT_ID" val="diagram20186238_3*q_g*1_1"/>
  <p:tag name="KSO_WM_TEMPLATE_CATEGORY" val="diagram"/>
  <p:tag name="KSO_WM_TEMPLATE_INDEX" val="20186238"/>
  <p:tag name="KSO_WM_UNIT_LAYERLEVEL" val="1_1"/>
  <p:tag name="KSO_WM_TAG_VERSION" val="1.0"/>
  <p:tag name="KSO_WM_UNIT_PRESET_TEXT" val="关键词"/>
  <p:tag name="KSO_WM_UNIT_TEXT_FILL_FORE_SCHEMECOLOR_INDEX" val="13"/>
  <p:tag name="KSO_WM_UNIT_TEXT_FILL_TYPE" val="1"/>
</p:tagLst>
</file>

<file path=ppt/tags/tag2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q1-1"/>
  <p:tag name="KSO_WM_UNIT_ID" val="diagram20186238_3*q_h_i*1_3_2"/>
  <p:tag name="KSO_WM_TEMPLATE_CATEGORY" val="diagram"/>
  <p:tag name="KSO_WM_TEMPLATE_INDEX" val="20186238"/>
  <p:tag name="KSO_WM_UNIT_LAYERLEVEL" val="1_1_1"/>
  <p:tag name="KSO_WM_TAG_VERSION" val="1.0"/>
  <p:tag name="KSO_WM_UNIT_FILL_FORE_SCHEMECOLOR_INDEX" val="7"/>
  <p:tag name="KSO_WM_UNIT_FILL_TYPE" val="1"/>
  <p:tag name="KSO_WM_UNIT_TEXT_FILL_FORE_SCHEMECOLOR_INDEX" val="2"/>
  <p:tag name="KSO_WM_UNIT_TEXT_FILL_TYPE" val="1"/>
</p:tagLst>
</file>

<file path=ppt/tags/tag2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q1-1"/>
  <p:tag name="KSO_WM_UNIT_ID" val="diagram20186238_3*q_h_i*1_1_2"/>
  <p:tag name="KSO_WM_TEMPLATE_CATEGORY" val="diagram"/>
  <p:tag name="KSO_WM_TEMPLATE_INDEX" val="20186238"/>
  <p:tag name="KSO_WM_UNIT_LAYERLEVEL" val="1_1_1"/>
  <p:tag name="KSO_WM_TAG_VERSION" val="1.0"/>
  <p:tag name="KSO_WM_UNIT_FILL_FORE_SCHEMECOLOR_INDEX" val="5"/>
  <p:tag name="KSO_WM_UNIT_FILL_TYPE" val="1"/>
  <p:tag name="KSO_WM_UNIT_TEXT_FILL_FORE_SCHEMECOLOR_INDEX" val="2"/>
  <p:tag name="KSO_WM_UNIT_TEXT_FILL_TYPE" val="1"/>
</p:tagLst>
</file>

<file path=ppt/tags/tag2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q1-1"/>
  <p:tag name="KSO_WM_UNIT_ID" val="diagram20186238_3*q_h_i*1_2_2"/>
  <p:tag name="KSO_WM_TEMPLATE_CATEGORY" val="diagram"/>
  <p:tag name="KSO_WM_TEMPLATE_INDEX" val="20186238"/>
  <p:tag name="KSO_WM_UNIT_LAYERLEVEL" val="1_1_1"/>
  <p:tag name="KSO_WM_TAG_VERSION" val="1.0"/>
  <p:tag name="KSO_WM_UNIT_FILL_FORE_SCHEMECOLOR_INDEX" val="6"/>
  <p:tag name="KSO_WM_UNIT_FILL_TYPE" val="1"/>
  <p:tag name="KSO_WM_UNIT_TEXT_FILL_FORE_SCHEMECOLOR_INDEX" val="2"/>
  <p:tag name="KSO_WM_UNIT_TEXT_FILL_TYPE" val="1"/>
</p:tagLst>
</file>

<file path=ppt/tags/tag2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q1-1"/>
  <p:tag name="KSO_WM_UNIT_ID" val="diagram20186238_3*q_h_i*1_5_2"/>
  <p:tag name="KSO_WM_TEMPLATE_CATEGORY" val="diagram"/>
  <p:tag name="KSO_WM_TEMPLATE_INDEX" val="20186238"/>
  <p:tag name="KSO_WM_UNIT_LAYERLEVEL" val="1_1_1"/>
  <p:tag name="KSO_WM_TAG_VERSION" val="1.0"/>
  <p:tag name="KSO_WM_UNIT_FILL_FORE_SCHEMECOLOR_INDEX" val="9"/>
  <p:tag name="KSO_WM_UNIT_FILL_TYPE" val="1"/>
  <p:tag name="KSO_WM_UNIT_TEXT_FILL_FORE_SCHEMECOLOR_INDEX" val="2"/>
  <p:tag name="KSO_WM_UNIT_TEXT_FILL_TYPE" val="1"/>
</p:tagLst>
</file>

<file path=ppt/tags/tag2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q1-1"/>
  <p:tag name="KSO_WM_UNIT_ID" val="diagram20186238_3*q_h_i*1_4_2"/>
  <p:tag name="KSO_WM_TEMPLATE_CATEGORY" val="diagram"/>
  <p:tag name="KSO_WM_TEMPLATE_INDEX" val="20186238"/>
  <p:tag name="KSO_WM_UNIT_LAYERLEVEL" val="1_1_1"/>
  <p:tag name="KSO_WM_TAG_VERSION" val="1.0"/>
  <p:tag name="KSO_WM_UNIT_FILL_FORE_SCHEMECOLOR_INDEX" val="8"/>
  <p:tag name="KSO_WM_UNIT_FILL_TYPE" val="1"/>
  <p:tag name="KSO_WM_UNIT_TEXT_FILL_FORE_SCHEMECOLOR_INDEX" val="2"/>
  <p:tag name="KSO_WM_UNIT_TEXT_FILL_TYPE" val="1"/>
</p:tagLst>
</file>

<file path=ppt/tags/tag26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q1-1"/>
  <p:tag name="KSO_WM_UNIT_ID" val="diagram20186238_3*q_h_i*1_1_1"/>
  <p:tag name="KSO_WM_TEMPLATE_CATEGORY" val="diagram"/>
  <p:tag name="KSO_WM_TEMPLATE_INDEX" val="20186238"/>
  <p:tag name="KSO_WM_UNIT_LAYERLEVEL" val="1_1_1"/>
  <p:tag name="KSO_WM_TAG_VERSION" val="1.0"/>
  <p:tag name="KSO_WM_UNIT_FILL_FORE_SCHEMECOLOR_INDEX" val="14"/>
  <p:tag name="KSO_WM_UNIT_FILL_TYPE" val="1"/>
  <p:tag name="KSO_WM_UNIT_TEXT_FILL_FORE_SCHEMECOLOR_INDEX" val="13"/>
  <p:tag name="KSO_WM_UNIT_TEXT_FILL_TYPE" val="1"/>
</p:tagLst>
</file>

<file path=ppt/tags/tag27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q1-1"/>
  <p:tag name="KSO_WM_UNIT_ID" val="diagram20186238_3*q_h_i*1_2_1"/>
  <p:tag name="KSO_WM_TEMPLATE_CATEGORY" val="diagram"/>
  <p:tag name="KSO_WM_TEMPLATE_INDEX" val="20186238"/>
  <p:tag name="KSO_WM_UNIT_LAYERLEVEL" val="1_1_1"/>
  <p:tag name="KSO_WM_TAG_VERSION" val="1.0"/>
  <p:tag name="KSO_WM_UNIT_FILL_FORE_SCHEMECOLOR_INDEX" val="14"/>
  <p:tag name="KSO_WM_UNIT_FILL_TYPE" val="1"/>
  <p:tag name="KSO_WM_UNIT_TEXT_FILL_FORE_SCHEMECOLOR_INDEX" val="13"/>
  <p:tag name="KSO_WM_UNIT_TEXT_FILL_TYPE" val="1"/>
</p:tagLst>
</file>

<file path=ppt/tags/tag28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q1-1"/>
  <p:tag name="KSO_WM_UNIT_ID" val="diagram20186238_3*q_h_i*1_3_1"/>
  <p:tag name="KSO_WM_TEMPLATE_CATEGORY" val="diagram"/>
  <p:tag name="KSO_WM_TEMPLATE_INDEX" val="20186238"/>
  <p:tag name="KSO_WM_UNIT_LAYERLEVEL" val="1_1_1"/>
  <p:tag name="KSO_WM_TAG_VERSION" val="1.0"/>
  <p:tag name="KSO_WM_UNIT_FILL_FORE_SCHEMECOLOR_INDEX" val="14"/>
  <p:tag name="KSO_WM_UNIT_FILL_TYPE" val="1"/>
  <p:tag name="KSO_WM_UNIT_TEXT_FILL_FORE_SCHEMECOLOR_INDEX" val="13"/>
  <p:tag name="KSO_WM_UNIT_TEXT_FILL_TYPE" val="1"/>
</p:tagLst>
</file>

<file path=ppt/tags/tag29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q1-1"/>
  <p:tag name="KSO_WM_UNIT_ID" val="diagram20186238_3*q_h_i*1_4_1"/>
  <p:tag name="KSO_WM_TEMPLATE_CATEGORY" val="diagram"/>
  <p:tag name="KSO_WM_TEMPLATE_INDEX" val="20186238"/>
  <p:tag name="KSO_WM_UNIT_LAYERLEVEL" val="1_1_1"/>
  <p:tag name="KSO_WM_TAG_VERSION" val="1.0"/>
  <p:tag name="KSO_WM_UNIT_FILL_FORE_SCHEMECOLOR_INDEX" val="14"/>
  <p:tag name="KSO_WM_UNIT_FILL_TYPE" val="1"/>
  <p:tag name="KSO_WM_UNIT_TEXT_FILL_FORE_SCHEMECOLOR_INDEX" val="13"/>
  <p:tag name="KSO_WM_UNIT_TEXT_FILL_TYPE" val="1"/>
</p:tagLst>
</file>

<file path=ppt/tags/tag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01367_1*d*1"/>
  <p:tag name="KSO_WM_TEMPLATE_CATEGORY" val="diagram"/>
  <p:tag name="KSO_WM_TEMPLATE_INDEX" val="20201367"/>
  <p:tag name="KSO_WM_UNIT_LAYERLEVEL" val="1"/>
  <p:tag name="KSO_WM_TAG_VERSION" val="1.0"/>
  <p:tag name="KSO_WM_BEAUTIFY_FLAG" val="#wm#"/>
  <p:tag name="KSO_WM_UNIT_VALUE" val="1902*1650"/>
  <p:tag name="KSO_WM_DIAGRAM_GROUP_CODE" val="m1-1"/>
  <p:tag name="KSO_WM_UNIT_TYPE" val="d"/>
  <p:tag name="KSO_WM_UNIT_INDEX" val="1"/>
  <p:tag name="KSO_WM_UNIT_USESOURCEFORMAT_APPLY" val="1"/>
  <p:tag name="KSO_WM_UNIT_PLACING_PICTURE_USER_VIEWPORT" val="{&quot;height&quot;:10792.500787401576,&quot;width&quot;:9359.826771653543}"/>
</p:tagLst>
</file>

<file path=ppt/tags/tag3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q1-1"/>
  <p:tag name="KSO_WM_UNIT_ID" val="diagram20186238_3*q_h_i*1_5_1"/>
  <p:tag name="KSO_WM_TEMPLATE_CATEGORY" val="diagram"/>
  <p:tag name="KSO_WM_TEMPLATE_INDEX" val="20186238"/>
  <p:tag name="KSO_WM_UNIT_LAYERLEVEL" val="1_1_1"/>
  <p:tag name="KSO_WM_TAG_VERSION" val="1.0"/>
  <p:tag name="KSO_WM_UNIT_FILL_FORE_SCHEMECOLOR_INDEX" val="14"/>
  <p:tag name="KSO_WM_UNIT_FILL_TYPE" val="1"/>
  <p:tag name="KSO_WM_UNIT_TEXT_FILL_FORE_SCHEMECOLOR_INDEX" val="13"/>
  <p:tag name="KSO_WM_UNIT_TEXT_FILL_TYPE" val="1"/>
</p:tagLst>
</file>

<file path=ppt/tags/tag31.xml><?xml version="1.0" encoding="utf-8"?>
<p:tagLst xmlns:p="http://schemas.openxmlformats.org/presentationml/2006/main">
  <p:tag name="KSO_WM_UNIT_ISCONTENTSTITLE" val="0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DIAGRAM_GROUP_CODE" val="q1-1"/>
  <p:tag name="KSO_WM_UNIT_ID" val="diagram20186238_3*q_h_a*1_1_1"/>
  <p:tag name="KSO_WM_TEMPLATE_CATEGORY" val="diagram"/>
  <p:tag name="KSO_WM_TEMPLATE_INDEX" val="20186238"/>
  <p:tag name="KSO_WM_UNIT_LAYERLEVEL" val="1_1_1"/>
  <p:tag name="KSO_WM_TAG_VERSION" val="1.0"/>
  <p:tag name="KSO_WM_UNIT_PRESET_TEXT" val="添加标题"/>
  <p:tag name="KSO_WM_UNIT_TEXT_FILL_FORE_SCHEMECOLOR_INDEX" val="5"/>
  <p:tag name="KSO_WM_UNIT_TEXT_FILL_TYPE" val="1"/>
</p:tagLst>
</file>

<file path=ppt/tags/tag32.xml><?xml version="1.0" encoding="utf-8"?>
<p:tagLst xmlns:p="http://schemas.openxmlformats.org/presentationml/2006/main">
  <p:tag name="KSO_WM_UNIT_ISCONTENTSTITLE" val="0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DIAGRAM_GROUP_CODE" val="q1-1"/>
  <p:tag name="KSO_WM_UNIT_ID" val="diagram20186238_3*q_h_a*1_5_1"/>
  <p:tag name="KSO_WM_TEMPLATE_CATEGORY" val="diagram"/>
  <p:tag name="KSO_WM_TEMPLATE_INDEX" val="20186238"/>
  <p:tag name="KSO_WM_UNIT_LAYERLEVEL" val="1_1_1"/>
  <p:tag name="KSO_WM_TAG_VERSION" val="1.0"/>
  <p:tag name="KSO_WM_UNIT_PRESET_TEXT" val="添加标题"/>
  <p:tag name="KSO_WM_UNIT_TEXT_FILL_FORE_SCHEMECOLOR_INDEX" val="9"/>
  <p:tag name="KSO_WM_UNIT_TEXT_FILL_TYPE" val="1"/>
</p:tagLst>
</file>

<file path=ppt/tags/tag33.xml><?xml version="1.0" encoding="utf-8"?>
<p:tagLst xmlns:p="http://schemas.openxmlformats.org/presentationml/2006/main">
  <p:tag name="KSO_WM_UNIT_ISCONTENTSTITLE" val="0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DIAGRAM_GROUP_CODE" val="q1-1"/>
  <p:tag name="KSO_WM_UNIT_ID" val="diagram20186238_3*q_h_a*1_4_1"/>
  <p:tag name="KSO_WM_TEMPLATE_CATEGORY" val="diagram"/>
  <p:tag name="KSO_WM_TEMPLATE_INDEX" val="20186238"/>
  <p:tag name="KSO_WM_UNIT_LAYERLEVEL" val="1_1_1"/>
  <p:tag name="KSO_WM_TAG_VERSION" val="1.0"/>
  <p:tag name="KSO_WM_UNIT_PRESET_TEXT" val="添加标题"/>
  <p:tag name="KSO_WM_UNIT_TEXT_FILL_FORE_SCHEMECOLOR_INDEX" val="8"/>
  <p:tag name="KSO_WM_UNIT_TEXT_FILL_TYPE" val="1"/>
</p:tagLst>
</file>

<file path=ppt/tags/tag34.xml><?xml version="1.0" encoding="utf-8"?>
<p:tagLst xmlns:p="http://schemas.openxmlformats.org/presentationml/2006/main">
  <p:tag name="KSO_WM_UNIT_ISCONTENTSTITLE" val="0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DIAGRAM_GROUP_CODE" val="q1-1"/>
  <p:tag name="KSO_WM_UNIT_ID" val="diagram20186238_3*q_h_a*1_2_1"/>
  <p:tag name="KSO_WM_TEMPLATE_CATEGORY" val="diagram"/>
  <p:tag name="KSO_WM_TEMPLATE_INDEX" val="20186238"/>
  <p:tag name="KSO_WM_UNIT_LAYERLEVEL" val="1_1_1"/>
  <p:tag name="KSO_WM_TAG_VERSION" val="1.0"/>
  <p:tag name="KSO_WM_UNIT_PRESET_TEXT" val="添加标题"/>
  <p:tag name="KSO_WM_UNIT_TEXT_FILL_FORE_SCHEMECOLOR_INDEX" val="6"/>
  <p:tag name="KSO_WM_UNIT_TEXT_FILL_TYPE" val="1"/>
</p:tagLst>
</file>

<file path=ppt/tags/tag35.xml><?xml version="1.0" encoding="utf-8"?>
<p:tagLst xmlns:p="http://schemas.openxmlformats.org/presentationml/2006/main">
  <p:tag name="KSO_WM_UNIT_ISCONTENTSTITLE" val="0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DIAGRAM_GROUP_CODE" val="q1-1"/>
  <p:tag name="KSO_WM_UNIT_ID" val="diagram20186238_3*q_h_a*1_3_1"/>
  <p:tag name="KSO_WM_TEMPLATE_CATEGORY" val="diagram"/>
  <p:tag name="KSO_WM_TEMPLATE_INDEX" val="20186238"/>
  <p:tag name="KSO_WM_UNIT_LAYERLEVEL" val="1_1_1"/>
  <p:tag name="KSO_WM_TAG_VERSION" val="1.0"/>
  <p:tag name="KSO_WM_UNIT_PRESET_TEXT" val="添加标题"/>
  <p:tag name="KSO_WM_UNIT_TEXT_FILL_FORE_SCHEMECOLOR_INDEX" val="7"/>
  <p:tag name="KSO_WM_UNIT_TEXT_FILL_TYPE" val="1"/>
</p:tagLst>
</file>

<file path=ppt/tags/tag36.xml><?xml version="1.0" encoding="utf-8"?>
<p:tagLst xmlns:p="http://schemas.openxmlformats.org/presentationml/2006/main">
  <p:tag name="TABLE_ENDDRAG_ORIGIN_RECT" val="783*348"/>
  <p:tag name="TABLE_ENDDRAG_RECT" val="15*172*783*348"/>
  <p:tag name="KSO_WM_UNIT_TABLE_BEAUTIFY" val="smartTable{d013ea05-e230-4a21-9a7b-8206ddc68884}"/>
</p:tagLst>
</file>

<file path=ppt/tags/tag37.xml><?xml version="1.0" encoding="utf-8"?>
<p:tagLst xmlns:p="http://schemas.openxmlformats.org/presentationml/2006/main">
  <p:tag name="TABLE_ENDDRAG_ORIGIN_RECT" val="757*272"/>
  <p:tag name="TABLE_ENDDRAG_RECT" val="18*267*757*272"/>
  <p:tag name="KSO_WM_UNIT_TABLE_BEAUTIFY" val="smartTable{7b633272-c1ac-4079-9572-e58124c9c51e}"/>
</p:tagLst>
</file>

<file path=ppt/tags/tag38.xml><?xml version="1.0" encoding="utf-8"?>
<p:tagLst xmlns:p="http://schemas.openxmlformats.org/presentationml/2006/main">
  <p:tag name="TABLE_ENDDRAG_ORIGIN_RECT" val="757*272"/>
  <p:tag name="TABLE_ENDDRAG_RECT" val="18*267*757*272"/>
  <p:tag name="KSO_WM_UNIT_TABLE_BEAUTIFY" val="smartTable{f855fda6-fe82-48f7-a57e-f6308ab77eea}"/>
</p:tagLst>
</file>

<file path=ppt/tags/tag39.xml><?xml version="1.0" encoding="utf-8"?>
<p:tagLst xmlns:p="http://schemas.openxmlformats.org/presentationml/2006/main">
  <p:tag name="KSO_WM_UNIT_VALUE" val="1503*1503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d"/>
  <p:tag name="KSO_WM_UNIT_INDEX" val="1"/>
  <p:tag name="KSO_WM_UNIT_ID" val="diagram20201387_1*d*1"/>
  <p:tag name="KSO_WM_TEMPLATE_CATEGORY" val="diagram"/>
  <p:tag name="KSO_WM_TEMPLATE_INDEX" val="20201387"/>
  <p:tag name="KSO_WM_UNIT_SUPPORT_UNIT_TYPE" val="[&quot;d&quot;]"/>
  <p:tag name="KSO_WM_UNIT_LAYERLEVEL" val="1"/>
  <p:tag name="KSO_WM_TAG_VERSION" val="1.0"/>
  <p:tag name="KSO_WM_BEAUTIFY_FLAG" val="#wm#"/>
  <p:tag name="KSO_WM_UNIT_USESOURCEFORMAT_APPLY" val="1"/>
</p:tagLst>
</file>

<file path=ppt/tags/tag4.xml><?xml version="1.0" encoding="utf-8"?>
<p:tagLst xmlns:p="http://schemas.openxmlformats.org/presentationml/2006/main">
  <p:tag name="KSO_WM_SLIDE_ID" val="diagram20201367_1"/>
  <p:tag name="KSO_WM_TEMPLATE_SUBCATEGORY" val="0"/>
  <p:tag name="KSO_WM_SLIDE_TYPE" val="text"/>
  <p:tag name="KSO_WM_SLIDE_SUBTYPE" val="diag"/>
  <p:tag name="KSO_WM_SLIDE_ITEM_CNT" val="3"/>
  <p:tag name="KSO_WM_SLIDE_INDEX" val="1"/>
  <p:tag name="KSO_WM_SLIDE_SIZE" val="317.164*266.673"/>
  <p:tag name="KSO_WM_SLIDE_POSITION" val="47.732*217.827"/>
  <p:tag name="KSO_WM_TAG_VERSION" val="1.0"/>
  <p:tag name="KSO_WM_BEAUTIFY_FLAG" val="#wm#"/>
  <p:tag name="KSO_WM_TEMPLATE_CATEGORY" val="diagram"/>
  <p:tag name="KSO_WM_TEMPLATE_INDEX" val="20201367"/>
  <p:tag name="KSO_WM_DIAGRAM_GROUP_CODE" val="m1-1"/>
  <p:tag name="KSO_WM_SLIDE_DIAGTYPE" val="m"/>
  <p:tag name="KSO_WM_SLIDE_LAYOUT" val="a_b_d_f_m"/>
  <p:tag name="KSO_WM_SLIDE_LAYOUT_CNT" val="1_1_1_1_1"/>
</p:tagLst>
</file>

<file path=ppt/tags/tag4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i"/>
  <p:tag name="KSO_WM_UNIT_INDEX" val="1"/>
  <p:tag name="KSO_WM_UNIT_ID" val="diagram20201387_1*i*1"/>
  <p:tag name="KSO_WM_TEMPLATE_CATEGORY" val="diagram"/>
  <p:tag name="KSO_WM_TEMPLATE_INDEX" val="20201387"/>
  <p:tag name="KSO_WM_UNIT_LAYERLEVEL" val="1"/>
  <p:tag name="KSO_WM_TAG_VERSION" val="1.0"/>
  <p:tag name="KSO_WM_BEAUTIFY_FLAG" val="#wm#"/>
  <p:tag name="KSO_WM_UNIT_FILL_FORE_SCHEMECOLOR_INDEX" val="5"/>
  <p:tag name="KSO_WM_UNIT_FILL_TYPE" val="1"/>
  <p:tag name="KSO_WM_UNIT_TEXT_FILL_FORE_SCHEMECOLOR_INDEX" val="2"/>
  <p:tag name="KSO_WM_UNIT_TEXT_FILL_TYPE" val="1"/>
  <p:tag name="KSO_WM_UNIT_USESOURCEFORMAT_APPLY" val="1"/>
</p:tagLst>
</file>

<file path=ppt/tags/tag4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i"/>
  <p:tag name="KSO_WM_UNIT_INDEX" val="2"/>
  <p:tag name="KSO_WM_UNIT_ID" val="diagram20201387_1*i*2"/>
  <p:tag name="KSO_WM_TEMPLATE_CATEGORY" val="diagram"/>
  <p:tag name="KSO_WM_TEMPLATE_INDEX" val="20201387"/>
  <p:tag name="KSO_WM_UNIT_LAYERLEVEL" val="1"/>
  <p:tag name="KSO_WM_TAG_VERSION" val="1.0"/>
  <p:tag name="KSO_WM_BEAUTIFY_FLAG" val="#wm#"/>
  <p:tag name="KSO_WM_UNIT_FILL_FORE_SCHEMECOLOR_INDEX" val="14"/>
  <p:tag name="KSO_WM_UNIT_FILL_TYPE" val="1"/>
  <p:tag name="KSO_WM_UNIT_TEXT_FILL_FORE_SCHEMECOLOR_INDEX" val="2"/>
  <p:tag name="KSO_WM_UNIT_TEXT_FILL_TYPE" val="1"/>
  <p:tag name="KSO_WM_UNIT_USESOURCEFORMAT_APPLY" val="1"/>
</p:tagLst>
</file>

<file path=ppt/tags/tag4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i"/>
  <p:tag name="KSO_WM_UNIT_INDEX" val="3"/>
  <p:tag name="KSO_WM_UNIT_ID" val="diagram20201387_1*i*3"/>
  <p:tag name="KSO_WM_TEMPLATE_CATEGORY" val="diagram"/>
  <p:tag name="KSO_WM_TEMPLATE_INDEX" val="20201387"/>
  <p:tag name="KSO_WM_UNIT_LAYERLEVEL" val="1"/>
  <p:tag name="KSO_WM_TAG_VERSION" val="1.0"/>
  <p:tag name="KSO_WM_BEAUTIFY_FLAG" val="#wm#"/>
  <p:tag name="KSO_WM_UNIT_FILL_FORE_SCHEMECOLOR_INDEX" val="5"/>
  <p:tag name="KSO_WM_UNIT_FILL_TYPE" val="1"/>
  <p:tag name="KSO_WM_UNIT_TEXT_FILL_FORE_SCHEMECOLOR_INDEX" val="13"/>
  <p:tag name="KSO_WM_UNIT_TEXT_FILL_TYPE" val="1"/>
  <p:tag name="KSO_WM_UNIT_USESOURCEFORMAT_APPLY" val="1"/>
</p:tagLst>
</file>

<file path=ppt/tags/tag4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i"/>
  <p:tag name="KSO_WM_UNIT_INDEX" val="4"/>
  <p:tag name="KSO_WM_UNIT_ID" val="diagram20201387_1*i*4"/>
  <p:tag name="KSO_WM_TEMPLATE_CATEGORY" val="diagram"/>
  <p:tag name="KSO_WM_TEMPLATE_INDEX" val="20201387"/>
  <p:tag name="KSO_WM_UNIT_LAYERLEVEL" val="1"/>
  <p:tag name="KSO_WM_TAG_VERSION" val="1.0"/>
  <p:tag name="KSO_WM_BEAUTIFY_FLAG" val="#wm#"/>
  <p:tag name="KSO_WM_UNIT_LINE_FORE_SCHEMECOLOR_INDEX" val="5"/>
  <p:tag name="KSO_WM_UNIT_LINE_FILL_TYPE" val="2"/>
  <p:tag name="KSO_WM_UNIT_TEXT_FILL_FORE_SCHEMECOLOR_INDEX" val="2"/>
  <p:tag name="KSO_WM_UNIT_TEXT_FILL_TYPE" val="1"/>
  <p:tag name="KSO_WM_UNIT_USESOURCEFORMAT_APPLY" val="1"/>
</p:tagLst>
</file>

<file path=ppt/tags/tag4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i"/>
  <p:tag name="KSO_WM_UNIT_INDEX" val="5"/>
  <p:tag name="KSO_WM_UNIT_ID" val="diagram20201387_1*i*5"/>
  <p:tag name="KSO_WM_TEMPLATE_CATEGORY" val="diagram"/>
  <p:tag name="KSO_WM_TEMPLATE_INDEX" val="20201387"/>
  <p:tag name="KSO_WM_UNIT_LAYERLEVEL" val="1"/>
  <p:tag name="KSO_WM_TAG_VERSION" val="1.0"/>
  <p:tag name="KSO_WM_BEAUTIFY_FLAG" val="#wm#"/>
  <p:tag name="KSO_WM_UNIT_FILL_FORE_SCHEMECOLOR_INDEX" val="13"/>
  <p:tag name="KSO_WM_UNIT_FILL_TYPE" val="1"/>
  <p:tag name="KSO_WM_UNIT_TEXT_FILL_FORE_SCHEMECOLOR_INDEX" val="2"/>
  <p:tag name="KSO_WM_UNIT_TEXT_FILL_TYPE" val="1"/>
  <p:tag name="KSO_WM_UNIT_USESOURCEFORMAT_APPLY" val="1"/>
</p:tagLst>
</file>

<file path=ppt/tags/tag4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i"/>
  <p:tag name="KSO_WM_UNIT_INDEX" val="6"/>
  <p:tag name="KSO_WM_UNIT_ID" val="diagram20201387_1*i*6"/>
  <p:tag name="KSO_WM_TEMPLATE_CATEGORY" val="diagram"/>
  <p:tag name="KSO_WM_TEMPLATE_INDEX" val="20201387"/>
  <p:tag name="KSO_WM_UNIT_LAYERLEVEL" val="1"/>
  <p:tag name="KSO_WM_TAG_VERSION" val="1.0"/>
  <p:tag name="KSO_WM_BEAUTIFY_FLAG" val="#wm#"/>
  <p:tag name="KSO_WM_UNIT_FILL_FORE_SCHEMECOLOR_INDEX" val="13"/>
  <p:tag name="KSO_WM_UNIT_FILL_TYPE" val="1"/>
  <p:tag name="KSO_WM_UNIT_TEXT_FILL_FORE_SCHEMECOLOR_INDEX" val="2"/>
  <p:tag name="KSO_WM_UNIT_TEXT_FILL_TYPE" val="1"/>
  <p:tag name="KSO_WM_UNIT_USESOURCEFORMAT_APPLY" val="1"/>
</p:tagLst>
</file>

<file path=ppt/tags/tag46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i"/>
  <p:tag name="KSO_WM_UNIT_INDEX" val="7"/>
  <p:tag name="KSO_WM_UNIT_ID" val="diagram20201387_1*i*7"/>
  <p:tag name="KSO_WM_TEMPLATE_CATEGORY" val="diagram"/>
  <p:tag name="KSO_WM_TEMPLATE_INDEX" val="20201387"/>
  <p:tag name="KSO_WM_UNIT_LAYERLEVEL" val="1"/>
  <p:tag name="KSO_WM_TAG_VERSION" val="1.0"/>
  <p:tag name="KSO_WM_BEAUTIFY_FLAG" val="#wm#"/>
  <p:tag name="KSO_WM_UNIT_LINE_FORE_SCHEMECOLOR_INDEX" val="5"/>
  <p:tag name="KSO_WM_UNIT_LINE_FILL_TYPE" val="2"/>
  <p:tag name="KSO_WM_UNIT_TEXT_FILL_FORE_SCHEMECOLOR_INDEX" val="2"/>
  <p:tag name="KSO_WM_UNIT_TEXT_FILL_TYPE" val="1"/>
  <p:tag name="KSO_WM_UNIT_USESOURCEFORMAT_APPLY" val="1"/>
</p:tagLst>
</file>

<file path=ppt/tags/tag47.xml><?xml version="1.0" encoding="utf-8"?>
<p:tagLst xmlns:p="http://schemas.openxmlformats.org/presentationml/2006/main">
  <p:tag name="KSO_WM_UNIT_TABLE_BEAUTIFY" val="smartTable{4a39d72b-6701-494d-a463-c69a89891ecb}"/>
  <p:tag name="TABLE_ENDDRAG_ORIGIN_RECT" val="544*438"/>
  <p:tag name="TABLE_ENDDRAG_RECT" val="480*13*544*438"/>
</p:tagLst>
</file>

<file path=ppt/tags/tag48.xml><?xml version="1.0" encoding="utf-8"?>
<p:tagLst xmlns:p="http://schemas.openxmlformats.org/presentationml/2006/main">
  <p:tag name="KSO_WM_SLIDE_ID" val="diagram20201387_1"/>
  <p:tag name="KSO_WM_TEMPLATE_SUBCATEGORY" val="0"/>
  <p:tag name="KSO_WM_TEMPLATE_MASTER_TYPE" val="0"/>
  <p:tag name="KSO_WM_TEMPLATE_COLOR_TYPE" val="1"/>
  <p:tag name="KSO_WM_SLIDE_TYPE" val="text"/>
  <p:tag name="KSO_WM_SLIDE_SUBTYPE" val="diag"/>
  <p:tag name="KSO_WM_SLIDE_ITEM_CNT" val="4"/>
  <p:tag name="KSO_WM_SLIDE_INDEX" val="1"/>
  <p:tag name="KSO_WM_SLIDE_SIZE" val="444.047*215.55"/>
  <p:tag name="KSO_WM_SLIDE_POSITION" val="491.949*179.104"/>
  <p:tag name="KSO_WM_DIAGRAM_GROUP_CODE" val="l1-1"/>
  <p:tag name="KSO_WM_SLIDE_DIAGTYPE" val="l"/>
  <p:tag name="KSO_WM_TAG_VERSION" val="1.0"/>
  <p:tag name="KSO_WM_BEAUTIFY_FLAG" val="#wm#"/>
  <p:tag name="KSO_WM_TEMPLATE_CATEGORY" val="diagram"/>
  <p:tag name="KSO_WM_TEMPLATE_INDEX" val="20201387"/>
  <p:tag name="KSO_WM_SLIDE_LAYOUT" val="a_b_d_l"/>
  <p:tag name="KSO_WM_SLIDE_LAYOUT_CNT" val="1_1_1_1"/>
</p:tagLst>
</file>

<file path=ppt/tags/tag49.xml><?xml version="1.0" encoding="utf-8"?>
<p:tagLst xmlns:p="http://schemas.openxmlformats.org/presentationml/2006/main">
  <p:tag name="THINKCELLSHAPEDONOTDELETE" val="thinkcellActiveDocDoNotDelete"/>
</p:tagLst>
</file>

<file path=ppt/tags/tag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01367_1*d*1"/>
  <p:tag name="KSO_WM_TEMPLATE_CATEGORY" val="diagram"/>
  <p:tag name="KSO_WM_TEMPLATE_INDEX" val="20201367"/>
  <p:tag name="KSO_WM_UNIT_LAYERLEVEL" val="1"/>
  <p:tag name="KSO_WM_TAG_VERSION" val="1.0"/>
  <p:tag name="KSO_WM_BEAUTIFY_FLAG" val="#wm#"/>
  <p:tag name="KSO_WM_UNIT_VALUE" val="1902*1650"/>
  <p:tag name="KSO_WM_DIAGRAM_GROUP_CODE" val="m1-1"/>
  <p:tag name="KSO_WM_UNIT_TYPE" val="d"/>
  <p:tag name="KSO_WM_UNIT_INDEX" val="1"/>
  <p:tag name="KSO_WM_UNIT_USESOURCEFORMAT_APPLY" val="1"/>
  <p:tag name="KSO_WM_UNIT_PLACING_PICTURE_USER_VIEWPORT" val="{&quot;height&quot;:10792.500787401576,&quot;width&quot;:9359.826771653543}"/>
</p:tagLst>
</file>

<file path=ppt/tags/tag50.xml><?xml version="1.0" encoding="utf-8"?>
<p:tagLst xmlns:p="http://schemas.openxmlformats.org/presentationml/2006/main">
  <p:tag name="THINKCELLSHAPEDONOTDELETE" val="t1Smkff3fSzGMOuItfjj3Fw"/>
</p:tagLst>
</file>

<file path=ppt/tags/tag51.xml><?xml version="1.0" encoding="utf-8"?>
<p:tagLst xmlns:p="http://schemas.openxmlformats.org/presentationml/2006/main">
  <p:tag name="KSO_WPP_MARK_KEY" val="af4ffbe0-5909-44a2-a996-6815a23fda5f"/>
  <p:tag name="COMMONDATA" val="eyJjb3VudCI6NywiaGRpZCI6ImZkOTQ5NTZlMmJhMTg2NzZhNjA0NGU3YjUwMjFkZDFjIiwidXNlckNvdW50Ijo3fQ=="/>
</p:tagLst>
</file>

<file path=ppt/tags/tag6.xml><?xml version="1.0" encoding="utf-8"?>
<p:tagLst xmlns:p="http://schemas.openxmlformats.org/presentationml/2006/main">
  <p:tag name="KSO_WM_SLIDE_ID" val="diagram20201367_1"/>
  <p:tag name="KSO_WM_TEMPLATE_SUBCATEGORY" val="0"/>
  <p:tag name="KSO_WM_SLIDE_TYPE" val="text"/>
  <p:tag name="KSO_WM_SLIDE_SUBTYPE" val="diag"/>
  <p:tag name="KSO_WM_SLIDE_ITEM_CNT" val="3"/>
  <p:tag name="KSO_WM_SLIDE_INDEX" val="1"/>
  <p:tag name="KSO_WM_SLIDE_SIZE" val="317.164*266.673"/>
  <p:tag name="KSO_WM_SLIDE_POSITION" val="47.732*217.827"/>
  <p:tag name="KSO_WM_TAG_VERSION" val="1.0"/>
  <p:tag name="KSO_WM_BEAUTIFY_FLAG" val="#wm#"/>
  <p:tag name="KSO_WM_TEMPLATE_CATEGORY" val="diagram"/>
  <p:tag name="KSO_WM_TEMPLATE_INDEX" val="20201367"/>
  <p:tag name="KSO_WM_DIAGRAM_GROUP_CODE" val="m1-1"/>
  <p:tag name="KSO_WM_SLIDE_DIAGTYPE" val="m"/>
  <p:tag name="KSO_WM_SLIDE_LAYOUT" val="a_b_d_f_m"/>
  <p:tag name="KSO_WM_SLIDE_LAYOUT_CNT" val="1_1_1_1_1"/>
</p:tagLst>
</file>

<file path=ppt/tags/tag7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01367_1*d*1"/>
  <p:tag name="KSO_WM_TEMPLATE_CATEGORY" val="diagram"/>
  <p:tag name="KSO_WM_TEMPLATE_INDEX" val="20201367"/>
  <p:tag name="KSO_WM_UNIT_LAYERLEVEL" val="1"/>
  <p:tag name="KSO_WM_TAG_VERSION" val="1.0"/>
  <p:tag name="KSO_WM_BEAUTIFY_FLAG" val="#wm#"/>
  <p:tag name="KSO_WM_UNIT_VALUE" val="1902*1650"/>
  <p:tag name="KSO_WM_DIAGRAM_GROUP_CODE" val="m1-1"/>
  <p:tag name="KSO_WM_UNIT_TYPE" val="d"/>
  <p:tag name="KSO_WM_UNIT_INDEX" val="1"/>
  <p:tag name="KSO_WM_UNIT_USESOURCEFORMAT_APPLY" val="1"/>
  <p:tag name="KSO_WM_UNIT_PLACING_PICTURE_USER_VIEWPORT" val="{&quot;height&quot;:10792.500787401576,&quot;width&quot;:9359.826771653543}"/>
</p:tagLst>
</file>

<file path=ppt/tags/tag8.xml><?xml version="1.0" encoding="utf-8"?>
<p:tagLst xmlns:p="http://schemas.openxmlformats.org/presentationml/2006/main">
  <p:tag name="KSO_WM_SLIDE_ID" val="diagram20201367_1"/>
  <p:tag name="KSO_WM_TEMPLATE_SUBCATEGORY" val="0"/>
  <p:tag name="KSO_WM_SLIDE_TYPE" val="text"/>
  <p:tag name="KSO_WM_SLIDE_SUBTYPE" val="diag"/>
  <p:tag name="KSO_WM_SLIDE_ITEM_CNT" val="3"/>
  <p:tag name="KSO_WM_SLIDE_INDEX" val="1"/>
  <p:tag name="KSO_WM_SLIDE_SIZE" val="317.164*266.673"/>
  <p:tag name="KSO_WM_SLIDE_POSITION" val="47.732*217.827"/>
  <p:tag name="KSO_WM_TAG_VERSION" val="1.0"/>
  <p:tag name="KSO_WM_BEAUTIFY_FLAG" val="#wm#"/>
  <p:tag name="KSO_WM_TEMPLATE_CATEGORY" val="diagram"/>
  <p:tag name="KSO_WM_TEMPLATE_INDEX" val="20201367"/>
  <p:tag name="KSO_WM_DIAGRAM_GROUP_CODE" val="m1-1"/>
  <p:tag name="KSO_WM_SLIDE_DIAGTYPE" val="m"/>
  <p:tag name="KSO_WM_SLIDE_LAYOUT" val="a_b_d_f_m"/>
  <p:tag name="KSO_WM_SLIDE_LAYOUT_CNT" val="1_1_1_1_1"/>
</p:tagLst>
</file>

<file path=ppt/tags/tag9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01367_1*d*1"/>
  <p:tag name="KSO_WM_TEMPLATE_CATEGORY" val="diagram"/>
  <p:tag name="KSO_WM_TEMPLATE_INDEX" val="20201367"/>
  <p:tag name="KSO_WM_UNIT_LAYERLEVEL" val="1"/>
  <p:tag name="KSO_WM_TAG_VERSION" val="1.0"/>
  <p:tag name="KSO_WM_BEAUTIFY_FLAG" val="#wm#"/>
  <p:tag name="KSO_WM_UNIT_VALUE" val="1902*1650"/>
  <p:tag name="KSO_WM_DIAGRAM_GROUP_CODE" val="m1-1"/>
  <p:tag name="KSO_WM_UNIT_TYPE" val="d"/>
  <p:tag name="KSO_WM_UNIT_INDEX" val="1"/>
  <p:tag name="KSO_WM_UNIT_USESOURCEFORMAT_APPLY" val="1"/>
  <p:tag name="KSO_WM_UNIT_PLACING_PICTURE_USER_VIEWPORT" val="{&quot;height&quot;:10792.500787401576,&quot;width&quot;:9359.826771653543}"/>
</p:tagLst>
</file>

<file path=ppt/theme/theme1.xml><?xml version="1.0" encoding="utf-8"?>
<a:theme xmlns:a="http://schemas.openxmlformats.org/drawingml/2006/main" name="Office 主题">
  <a:themeElements>
    <a:clrScheme name="Office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D61225"/>
      </a:accent1>
      <a:accent2>
        <a:srgbClr val="FE283E"/>
      </a:accent2>
      <a:accent3>
        <a:srgbClr val="FF3C64"/>
      </a:accent3>
      <a:accent4>
        <a:srgbClr val="095CE5"/>
      </a:accent4>
      <a:accent5>
        <a:srgbClr val="F39304"/>
      </a:accent5>
      <a:accent6>
        <a:srgbClr val="91B5C9"/>
      </a:accent6>
      <a:hlink>
        <a:srgbClr val="4472C4"/>
      </a:hlink>
      <a:folHlink>
        <a:srgbClr val="BFBFBF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rgbClr val="000000"/>
    </a:dk1>
    <a:lt1>
      <a:srgbClr val="FFFFFF"/>
    </a:lt1>
    <a:dk2>
      <a:srgbClr val="768395"/>
    </a:dk2>
    <a:lt2>
      <a:srgbClr val="F0F0F0"/>
    </a:lt2>
    <a:accent1>
      <a:srgbClr val="D61225"/>
    </a:accent1>
    <a:accent2>
      <a:srgbClr val="FE283E"/>
    </a:accent2>
    <a:accent3>
      <a:srgbClr val="FF3C64"/>
    </a:accent3>
    <a:accent4>
      <a:srgbClr val="095CE5"/>
    </a:accent4>
    <a:accent5>
      <a:srgbClr val="F39304"/>
    </a:accent5>
    <a:accent6>
      <a:srgbClr val="91B5C9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Office">
    <a:dk1>
      <a:srgbClr val="000000"/>
    </a:dk1>
    <a:lt1>
      <a:srgbClr val="FFFFFF"/>
    </a:lt1>
    <a:dk2>
      <a:srgbClr val="768395"/>
    </a:dk2>
    <a:lt2>
      <a:srgbClr val="F0F0F0"/>
    </a:lt2>
    <a:accent1>
      <a:srgbClr val="D61225"/>
    </a:accent1>
    <a:accent2>
      <a:srgbClr val="FE283E"/>
    </a:accent2>
    <a:accent3>
      <a:srgbClr val="FF3C64"/>
    </a:accent3>
    <a:accent4>
      <a:srgbClr val="095CE5"/>
    </a:accent4>
    <a:accent5>
      <a:srgbClr val="F39304"/>
    </a:accent5>
    <a:accent6>
      <a:srgbClr val="91B5C9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816</Words>
  <Application>WPS 演示</Application>
  <PresentationFormat>宽屏</PresentationFormat>
  <Paragraphs>370</Paragraphs>
  <Slides>19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19</vt:i4>
      </vt:variant>
    </vt:vector>
  </HeadingPairs>
  <TitlesOfParts>
    <vt:vector size="30" baseType="lpstr">
      <vt:lpstr>Arial</vt:lpstr>
      <vt:lpstr>宋体</vt:lpstr>
      <vt:lpstr>Wingdings</vt:lpstr>
      <vt:lpstr>微软雅黑</vt:lpstr>
      <vt:lpstr>Impact</vt:lpstr>
      <vt:lpstr>Calibri</vt:lpstr>
      <vt:lpstr>Calibri Light</vt:lpstr>
      <vt:lpstr>Arial Unicode MS</vt:lpstr>
      <vt:lpstr>Office 主题</vt:lpstr>
      <vt:lpstr>TCLayout.ActiveDocument.1</vt:lpstr>
      <vt:lpstr>TCLayout.ActiveDocument.1</vt:lpstr>
      <vt:lpstr> 第9组 项目期中答辩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THANKS </vt:lpstr>
    </vt:vector>
  </TitlesOfParts>
  <Company>china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AutoBVT</dc:creator>
  <cp:lastModifiedBy>怨￡由</cp:lastModifiedBy>
  <cp:revision>30</cp:revision>
  <dcterms:created xsi:type="dcterms:W3CDTF">2019-08-07T07:57:00Z</dcterms:created>
  <dcterms:modified xsi:type="dcterms:W3CDTF">2022-11-19T03:13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12763</vt:lpwstr>
  </property>
  <property fmtid="{D5CDD505-2E9C-101B-9397-08002B2CF9AE}" pid="3" name="KSOTemplateUUID">
    <vt:lpwstr>v1.0_mb_9VwgWOGB5y4Mqal+FQWoew==</vt:lpwstr>
  </property>
  <property fmtid="{D5CDD505-2E9C-101B-9397-08002B2CF9AE}" pid="4" name="ICV">
    <vt:lpwstr>21498E07DD98460CB283936F81F26AE5</vt:lpwstr>
  </property>
</Properties>
</file>